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81" r:id="rId4"/>
  </p:sldMasterIdLst>
  <p:notesMasterIdLst>
    <p:notesMasterId r:id="rId16"/>
  </p:notesMasterIdLst>
  <p:handoutMasterIdLst>
    <p:handoutMasterId r:id="rId17"/>
  </p:handoutMasterIdLst>
  <p:sldIdLst>
    <p:sldId id="257" r:id="rId5"/>
    <p:sldId id="456" r:id="rId6"/>
    <p:sldId id="450" r:id="rId7"/>
    <p:sldId id="451" r:id="rId8"/>
    <p:sldId id="452" r:id="rId9"/>
    <p:sldId id="453" r:id="rId10"/>
    <p:sldId id="454" r:id="rId11"/>
    <p:sldId id="455" r:id="rId12"/>
    <p:sldId id="447" r:id="rId13"/>
    <p:sldId id="457" r:id="rId14"/>
    <p:sldId id="389" r:id="rId15"/>
  </p:sldIdLst>
  <p:sldSz cx="12192000" cy="6858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Consolas" panose="020B0609020204030204" pitchFamily="49" charset="0"/>
      <p:regular r:id="rId22"/>
      <p:bold r:id="rId23"/>
      <p:italic r:id="rId24"/>
      <p:boldItalic r:id="rId25"/>
    </p:embeddedFont>
    <p:embeddedFont>
      <p:font typeface="Inter" panose="020B0604020202020204" charset="0"/>
      <p:regular r:id="rId26"/>
      <p:bold r:id="rId27"/>
      <p:italic r:id="rId28"/>
      <p:boldItalic r:id="rId29"/>
    </p:embeddedFont>
    <p:embeddedFont>
      <p:font typeface="Inter Medium" panose="020B0604020202020204" charset="0"/>
      <p:regular r:id="rId30"/>
      <p:italic r:id="rId31"/>
    </p:embeddedFont>
    <p:embeddedFont>
      <p:font typeface="Verdana" panose="020B0604030504040204" pitchFamily="34" charset="0"/>
      <p:regular r:id="rId32"/>
      <p:bold r:id="rId33"/>
      <p:italic r:id="rId34"/>
      <p:boldItalic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rtoyo Barlian" initials="HB" lastIdx="10" clrIdx="0">
    <p:extLst>
      <p:ext uri="{19B8F6BF-5375-455C-9EA6-DF929625EA0E}">
        <p15:presenceInfo xmlns:p15="http://schemas.microsoft.com/office/powerpoint/2012/main" userId="S::hartoyo@mitrais.com::918129e4-e086-4b9f-baee-89472b07b65b" providerId="AD"/>
      </p:ext>
    </p:extLst>
  </p:cmAuthor>
  <p:cmAuthor id="2" name="I Putu Arya Kusuma Wijaya" initials="IW" lastIdx="1" clrIdx="1">
    <p:extLst>
      <p:ext uri="{19B8F6BF-5375-455C-9EA6-DF929625EA0E}">
        <p15:presenceInfo xmlns:p15="http://schemas.microsoft.com/office/powerpoint/2012/main" userId="S::kusuma_w@mitrais.com::f5e1f0b9-1ac2-45e6-be43-5f3eea5c9b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00C0"/>
    <a:srgbClr val="EDEAF0"/>
    <a:srgbClr val="FFFFFF"/>
    <a:srgbClr val="6200C0"/>
    <a:srgbClr val="D8D3E0"/>
    <a:srgbClr val="AF45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89"/>
  </p:normalViewPr>
  <p:slideViewPr>
    <p:cSldViewPr snapToGrid="0">
      <p:cViewPr varScale="1">
        <p:scale>
          <a:sx n="153" d="100"/>
          <a:sy n="153" d="100"/>
        </p:scale>
        <p:origin x="576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640D22-A9BC-4873-AE9A-30C1836DD08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6/22/202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3A57EF-571A-4659-84F8-16609C02C01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6639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6EDAF7A-5D0B-4A22-8D7B-B4097EDD81AB}" type="datetimeFigureOut">
              <a:rPr lang="en-AU" smtClean="0"/>
              <a:pPr/>
              <a:t>22/06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6FCB4B-929B-486E-A8E2-306AD1107FDF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5225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3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4A1ECDFC-073E-A743-B5DE-C97925DBC4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" r="312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F3A6022-25D4-6947-AB0E-34A2EF9D8CC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04CC9-D4A7-4320-AE5C-9A55E094EE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tle 15"/>
          <p:cNvSpPr>
            <a:spLocks noGrp="1"/>
          </p:cNvSpPr>
          <p:nvPr>
            <p:ph type="title" hasCustomPrompt="1"/>
          </p:nvPr>
        </p:nvSpPr>
        <p:spPr>
          <a:xfrm>
            <a:off x="1226843" y="2033851"/>
            <a:ext cx="10942684" cy="739775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1226843" y="2662069"/>
            <a:ext cx="10942638" cy="534707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226889" y="4169177"/>
            <a:ext cx="10942638" cy="432272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escrip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95DA654-FC95-794A-9574-402366ABE1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210" y="313369"/>
            <a:ext cx="2764311" cy="32627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2DB5E49-EF0C-ED4F-863B-9D4E5ABA42AA}"/>
              </a:ext>
            </a:extLst>
          </p:cNvPr>
          <p:cNvCxnSpPr>
            <a:cxnSpLocks/>
          </p:cNvCxnSpPr>
          <p:nvPr/>
        </p:nvCxnSpPr>
        <p:spPr>
          <a:xfrm>
            <a:off x="1338072" y="4618101"/>
            <a:ext cx="3714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DF3B469-D907-FE44-A63F-908D14683190}"/>
              </a:ext>
            </a:extLst>
          </p:cNvPr>
          <p:cNvSpPr txBox="1"/>
          <p:nvPr userDrawn="1"/>
        </p:nvSpPr>
        <p:spPr>
          <a:xfrm>
            <a:off x="-626533" y="270933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976CE4-7E05-E040-A1D6-6B9B885922C2}"/>
              </a:ext>
            </a:extLst>
          </p:cNvPr>
          <p:cNvSpPr txBox="1"/>
          <p:nvPr userDrawn="1"/>
        </p:nvSpPr>
        <p:spPr>
          <a:xfrm>
            <a:off x="13284200" y="1905000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0058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cons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20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C46579-5539-0A4F-BBFB-22481C2E1630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1BC604A-1DF3-9943-A20C-99FC472E6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E6ED8C1-29A8-B447-A936-27474EECD293}"/>
              </a:ext>
            </a:extLst>
          </p:cNvPr>
          <p:cNvSpPr txBox="1"/>
          <p:nvPr/>
        </p:nvSpPr>
        <p:spPr>
          <a:xfrm>
            <a:off x="1132114" y="6647543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17E167-670D-224F-A2B0-F2C87BACA8F8}"/>
              </a:ext>
            </a:extLst>
          </p:cNvPr>
          <p:cNvSpPr txBox="1"/>
          <p:nvPr/>
        </p:nvSpPr>
        <p:spPr>
          <a:xfrm>
            <a:off x="1019908" y="6629400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3BB94E7-A077-C74A-9E9F-0EB5E6BE8CB4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FBD037E-9BBB-BD48-A219-363B8707EB62}"/>
              </a:ext>
            </a:extLst>
          </p:cNvPr>
          <p:cNvCxnSpPr>
            <a:cxnSpLocks/>
          </p:cNvCxnSpPr>
          <p:nvPr/>
        </p:nvCxnSpPr>
        <p:spPr>
          <a:xfrm>
            <a:off x="699239" y="3833339"/>
            <a:ext cx="1075539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4948B9F-72E0-CB42-9650-4D43BD748ECF}"/>
              </a:ext>
            </a:extLst>
          </p:cNvPr>
          <p:cNvCxnSpPr>
            <a:cxnSpLocks/>
          </p:cNvCxnSpPr>
          <p:nvPr/>
        </p:nvCxnSpPr>
        <p:spPr>
          <a:xfrm>
            <a:off x="3204820" y="1919918"/>
            <a:ext cx="0" cy="38404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B3B6342-E6E1-B841-97C0-82CBC7E7AAE4}"/>
              </a:ext>
            </a:extLst>
          </p:cNvPr>
          <p:cNvCxnSpPr>
            <a:cxnSpLocks/>
          </p:cNvCxnSpPr>
          <p:nvPr/>
        </p:nvCxnSpPr>
        <p:spPr>
          <a:xfrm>
            <a:off x="5860629" y="1919918"/>
            <a:ext cx="0" cy="38404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773E577-A510-8745-845E-44F3A9656F80}"/>
              </a:ext>
            </a:extLst>
          </p:cNvPr>
          <p:cNvCxnSpPr>
            <a:cxnSpLocks/>
          </p:cNvCxnSpPr>
          <p:nvPr/>
        </p:nvCxnSpPr>
        <p:spPr>
          <a:xfrm>
            <a:off x="8498926" y="1919918"/>
            <a:ext cx="0" cy="38404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EA820100-A67A-8649-BDD4-284D26EA38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1524" y="292596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50C642B4-B98B-6A45-9B0D-834818D13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62954" y="292596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96D5410E-E7C8-FD4A-916F-7C459D0A6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5972" y="292596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54398752-DA40-F546-B6C5-CE14D8A7FD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81272" y="292596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3BF12ACA-22B0-8F46-9F34-632AF0B661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81524" y="526849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7EE68B0E-0593-5147-80BD-071998AF62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2954" y="526849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8CDD6910-2692-304B-9D5A-57702610F6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65972" y="526849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2A43278E-F36B-7D43-B333-D18D257ECA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81272" y="5268499"/>
            <a:ext cx="987334" cy="296534"/>
          </a:xfrm>
        </p:spPr>
        <p:txBody>
          <a:bodyPr>
            <a:normAutofit/>
          </a:bodyPr>
          <a:lstStyle>
            <a:lvl1pPr marL="0" indent="0" algn="ctr"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AF2ADBA-7444-3949-A4A7-F8F0093D6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81524" y="2422111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505152DA-9137-104C-B371-F5465DAD36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62954" y="2422111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56172FDA-6123-C24E-8F60-E820377BA4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65972" y="2422111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1" name="Text Placeholder 18">
            <a:extLst>
              <a:ext uri="{FF2B5EF4-FFF2-40B4-BE49-F238E27FC236}">
                <a16:creationId xmlns:a16="http://schemas.microsoft.com/office/drawing/2014/main" id="{B42FA388-2EF7-9B48-BDF2-B45A5304AC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81272" y="2422111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07EC1081-345F-7D42-9769-59B6F805AA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81524" y="4751429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5D063CE6-7782-294A-AFFC-73977418AE1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062954" y="4751429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5866FB12-63E9-9D44-AFB1-8B5997CECC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65972" y="4751429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755DE8C-327B-DF41-BAE1-0EB14456CC1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81272" y="4751429"/>
            <a:ext cx="987334" cy="472469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rgbClr val="6200C0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6" name="Picture Placeholder 6">
            <a:extLst>
              <a:ext uri="{FF2B5EF4-FFF2-40B4-BE49-F238E27FC236}">
                <a16:creationId xmlns:a16="http://schemas.microsoft.com/office/drawing/2014/main" id="{30422D0A-4ECF-8F4E-8D01-ACA07993A6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567521" y="1634102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  <p:sp>
        <p:nvSpPr>
          <p:cNvPr id="57" name="Picture Placeholder 6">
            <a:extLst>
              <a:ext uri="{FF2B5EF4-FFF2-40B4-BE49-F238E27FC236}">
                <a16:creationId xmlns:a16="http://schemas.microsoft.com/office/drawing/2014/main" id="{2E7AC3EE-E023-974A-9F1A-D5689047A21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248951" y="1634102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AF8E2BDA-248E-F44F-A176-94BBE149EE2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851969" y="1634102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028C4422-1313-0247-B400-27D9C4FB34FD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667269" y="1717456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A20B04C-9538-A743-A6F1-B8A5CE59DC2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667269" y="3928201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4A997BDC-EC37-C94A-90D2-737B1B418B2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851969" y="3928201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943A90B9-FF7D-CE45-88B5-C8D9DAFFF3BF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248951" y="3928201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DBB4D72F-8C38-184C-81EF-56A7458A40C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567521" y="3928201"/>
            <a:ext cx="615340" cy="626693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pic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377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eft -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618308" y="1270974"/>
            <a:ext cx="3325812" cy="5180534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08812" y="1270973"/>
            <a:ext cx="7454538" cy="5180533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6A18E5B-CDE6-FF48-B911-3AE4EB4FE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41C70633-1F7C-CE49-AC42-3CDA24148F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17BF221-ABBE-B84C-B633-F0DB0C6B4571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05D4-4E47-3D4A-82C7-15A38B3715B4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898728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-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8237538" y="1270973"/>
            <a:ext cx="3325812" cy="509499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18309" y="1270973"/>
            <a:ext cx="7454538" cy="5094991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A017216-EF7E-8946-B59E-04D735F7D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48274-9100-5844-AFCC-3D8B8821B3FB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46474A1F-3E4F-0548-A885-8F2341D6D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9C7A82A-E4FA-C944-9B16-4893211076F0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802299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DEBD81-5C31-AD4D-B319-14D9744ABE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4B2FFA-752C-A243-B5F6-96752737EAA9}"/>
              </a:ext>
            </a:extLst>
          </p:cNvPr>
          <p:cNvSpPr/>
          <p:nvPr/>
        </p:nvSpPr>
        <p:spPr>
          <a:xfrm>
            <a:off x="1016000" y="1279905"/>
            <a:ext cx="10160000" cy="40238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7DF2EC3-9DC0-1945-BCE6-C314F599CE46}"/>
              </a:ext>
            </a:extLst>
          </p:cNvPr>
          <p:cNvCxnSpPr>
            <a:cxnSpLocks/>
          </p:cNvCxnSpPr>
          <p:nvPr/>
        </p:nvCxnSpPr>
        <p:spPr>
          <a:xfrm rot="16200000">
            <a:off x="1538696" y="3614006"/>
            <a:ext cx="0" cy="266700"/>
          </a:xfrm>
          <a:prstGeom prst="line">
            <a:avLst/>
          </a:prstGeom>
          <a:ln w="41275">
            <a:solidFill>
              <a:srgbClr val="620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BEB3509A-F309-3B44-8F70-B3B7FF9052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DC606E1-A106-BD4D-A244-ECAF2564008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58251" y="716915"/>
            <a:ext cx="3688360" cy="514985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7B6E60-4439-2C41-99D6-9EEE3D280846}"/>
              </a:ext>
            </a:extLst>
          </p:cNvPr>
          <p:cNvSpPr txBox="1"/>
          <p:nvPr/>
        </p:nvSpPr>
        <p:spPr>
          <a:xfrm>
            <a:off x="6958149" y="2098766"/>
            <a:ext cx="3561805" cy="2673531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0923C02-E34F-1D49-93E9-EB1D7ACA1A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9656" y="2329421"/>
            <a:ext cx="4054436" cy="21032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  <p:sp>
        <p:nvSpPr>
          <p:cNvPr id="11" name="Title 15">
            <a:extLst>
              <a:ext uri="{FF2B5EF4-FFF2-40B4-BE49-F238E27FC236}">
                <a16:creationId xmlns:a16="http://schemas.microsoft.com/office/drawing/2014/main" id="{F25A861B-774C-7D45-B948-9045CB3C91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0218" y="2781396"/>
            <a:ext cx="1993877" cy="73977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</a:t>
            </a:r>
            <a:br>
              <a:rPr lang="en-US"/>
            </a:br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69164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1C5BE53A-F419-BF40-B2BD-66B9F640CA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436377" cy="685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D91806-6B0A-1F46-9DCC-E2FAFC5AA8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C75CAD-83E3-BC40-A807-8A7958088F6A}"/>
              </a:ext>
            </a:extLst>
          </p:cNvPr>
          <p:cNvSpPr/>
          <p:nvPr/>
        </p:nvSpPr>
        <p:spPr>
          <a:xfrm>
            <a:off x="5436378" y="0"/>
            <a:ext cx="6755622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810D495C-0D82-EE42-B38B-12E6385BC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5597" y="348624"/>
            <a:ext cx="1348706" cy="496892"/>
          </a:xfrm>
          <a:prstGeom prst="rect">
            <a:avLst/>
          </a:prstGeom>
        </p:spPr>
      </p:pic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E59EE971-FF6F-7B4C-ACB6-E6CF38665D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08914" y="2907019"/>
            <a:ext cx="4054436" cy="2039409"/>
          </a:xfrm>
        </p:spPr>
        <p:txBody>
          <a:bodyPr>
            <a:noAutofit/>
          </a:bodyPr>
          <a:lstStyle>
            <a:lvl1pPr marL="285750" marR="0" indent="-285750" algn="l" defTabSz="872655" rtl="0" eaLnBrk="1" fontAlgn="auto" latinLnBrk="0" hangingPunct="1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buFont typeface="Wingdings" pitchFamily="2" charset="2"/>
              <a:buChar char="ü"/>
              <a:tabLst/>
              <a:defRPr sz="1400" b="0" i="0"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0"/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2F70600-653D-2548-B21C-AB5CAB4473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08910" y="2291411"/>
            <a:ext cx="3850748" cy="348624"/>
          </a:xfrm>
        </p:spPr>
        <p:txBody>
          <a:bodyPr>
            <a:noAutofit/>
          </a:bodyPr>
          <a:lstStyle>
            <a:lvl1pPr marL="0" marR="0" indent="0" algn="l" defTabSz="872655" rtl="0" eaLnBrk="1" fontAlgn="auto" latinLnBrk="0" hangingPunct="1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buFont typeface="Wingdings" pitchFamily="2" charset="2"/>
              <a:buNone/>
              <a:tabLst/>
              <a:defRPr sz="1400" b="1" i="0"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1165655-14E9-0D4A-A811-1D4B971D1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995" y="3980468"/>
            <a:ext cx="1993877" cy="73977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</a:t>
            </a:r>
            <a:br>
              <a:rPr lang="en-US"/>
            </a:br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79695490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li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1C5BE53A-F419-BF40-B2BD-66B9F640CA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436377" cy="685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D91806-6B0A-1F46-9DCC-E2FAFC5AA8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E59EE971-FF6F-7B4C-ACB6-E6CF38665D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08914" y="2907019"/>
            <a:ext cx="4054436" cy="2039409"/>
          </a:xfrm>
        </p:spPr>
        <p:txBody>
          <a:bodyPr>
            <a:noAutofit/>
          </a:bodyPr>
          <a:lstStyle>
            <a:lvl1pPr marL="285750" marR="0" indent="-285750" algn="l" defTabSz="872655" rtl="0" eaLnBrk="1" fontAlgn="auto" latinLnBrk="0" hangingPunct="1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buFont typeface="Wingdings" pitchFamily="2" charset="2"/>
              <a:buChar char="ü"/>
              <a:tabLst/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0"/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2F70600-653D-2548-B21C-AB5CAB4473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08910" y="2291411"/>
            <a:ext cx="3850748" cy="348624"/>
          </a:xfrm>
        </p:spPr>
        <p:txBody>
          <a:bodyPr>
            <a:noAutofit/>
          </a:bodyPr>
          <a:lstStyle>
            <a:lvl1pPr marL="0" marR="0" indent="0" algn="l" defTabSz="872655" rtl="0" eaLnBrk="1" fontAlgn="auto" latinLnBrk="0" hangingPunct="1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buFont typeface="Wingdings" pitchFamily="2" charset="2"/>
              <a:buNone/>
              <a:tabLst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285750" marR="0" lvl="0" indent="-28575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B932D2-4DCE-1F41-80BF-6144AFC6BB0A}"/>
              </a:ext>
            </a:extLst>
          </p:cNvPr>
          <p:cNvSpPr/>
          <p:nvPr/>
        </p:nvSpPr>
        <p:spPr>
          <a:xfrm>
            <a:off x="0" y="3663714"/>
            <a:ext cx="3214255" cy="1573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A7B9F75-46F4-7A4D-B651-F9DDB48EFA2C}"/>
              </a:ext>
            </a:extLst>
          </p:cNvPr>
          <p:cNvCxnSpPr>
            <a:cxnSpLocks/>
          </p:cNvCxnSpPr>
          <p:nvPr/>
        </p:nvCxnSpPr>
        <p:spPr>
          <a:xfrm rot="16200000">
            <a:off x="943473" y="4813078"/>
            <a:ext cx="0" cy="266700"/>
          </a:xfrm>
          <a:prstGeom prst="line">
            <a:avLst/>
          </a:prstGeom>
          <a:ln w="41275">
            <a:solidFill>
              <a:srgbClr val="620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1165655-14E9-0D4A-A811-1D4B971D1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995" y="3980468"/>
            <a:ext cx="1993877" cy="739775"/>
          </a:xfrm>
          <a:prstGeom prst="rect">
            <a:avLst/>
          </a:prstGeo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</a:t>
            </a:r>
            <a:br>
              <a:rPr lang="en-US"/>
            </a:br>
            <a:r>
              <a:rPr lang="en-US"/>
              <a:t>Titl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7BEA6DBC-7088-DB45-BF51-70619BD74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5731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5E6C206D-194C-2946-AF44-027464316B8C}"/>
              </a:ext>
            </a:extLst>
          </p:cNvPr>
          <p:cNvSpPr/>
          <p:nvPr/>
        </p:nvSpPr>
        <p:spPr>
          <a:xfrm>
            <a:off x="0" y="0"/>
            <a:ext cx="12192000" cy="6908043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964939-1331-2F41-8F92-ECF81F4664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67974" y="-50043"/>
            <a:ext cx="6448797" cy="570058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7AAA91-D40B-C34D-92CD-A34DAFF7A3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6AF49A-CCB8-684D-9806-C9E9BA800043}"/>
              </a:ext>
            </a:extLst>
          </p:cNvPr>
          <p:cNvSpPr/>
          <p:nvPr/>
        </p:nvSpPr>
        <p:spPr>
          <a:xfrm>
            <a:off x="7539699" y="4012707"/>
            <a:ext cx="2551259" cy="2845291"/>
          </a:xfrm>
          <a:prstGeom prst="rect">
            <a:avLst/>
          </a:prstGeom>
          <a:solidFill>
            <a:schemeClr val="tx1">
              <a:lumMod val="95000"/>
              <a:lumOff val="5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80B34C1-02A4-D04C-92C9-0A088114DF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2133" y="352935"/>
            <a:ext cx="1348706" cy="49689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713B491-ABDB-694F-81A7-371979B524CB}"/>
              </a:ext>
            </a:extLst>
          </p:cNvPr>
          <p:cNvSpPr txBox="1"/>
          <p:nvPr/>
        </p:nvSpPr>
        <p:spPr>
          <a:xfrm>
            <a:off x="783771" y="3652896"/>
            <a:ext cx="6066972" cy="2588247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82FABD47-46D6-E24D-970F-15C0346EFB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0580" y="3657029"/>
            <a:ext cx="5211587" cy="2192868"/>
          </a:xfrm>
        </p:spPr>
        <p:txBody>
          <a:bodyPr>
            <a:noAutofit/>
          </a:bodyPr>
          <a:lstStyle>
            <a:lvl1pPr marL="0" marR="0" indent="0" algn="l" defTabSz="872655" rtl="0" eaLnBrk="1" fontAlgn="auto" latinLnBrk="0" hangingPunct="1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buFont typeface="Arial" panose="020B0604020202020204" pitchFamily="34" charset="0"/>
              <a:buNone/>
              <a:tabLst/>
              <a:defRPr lang="en-ID" sz="1200" b="0" i="0" kern="120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87265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20D8E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Lorem ipsum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dolor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sit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ame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consectetur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adipiscing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eli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. Nunc vitae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era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id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arcu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dapibu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hendreri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.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Quisque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nisl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turpi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vulputate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sed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lorem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eu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egesta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pulvinar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nisl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.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Nulla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dapibu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turpi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in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rna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condimentum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congue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eli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cursus.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Donec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et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tellu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neque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.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Praesen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veli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libero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pretium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feugia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magna at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viverra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congue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sapien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.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Nulla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maximus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veli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lacinia mi vestibulum, in fermentum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feli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llamcorper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.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Proin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vulputate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llamcorper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alique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.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Nullam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aliquet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tortor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fermentum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rhoncu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vehicula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,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urna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ligula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interdum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odio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, a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mollis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dolor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</a:t>
            </a:r>
            <a:r>
              <a:rPr lang="en-ID" sz="1200" b="0" i="0" kern="1200" err="1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orci</a:t>
            </a:r>
            <a:r>
              <a:rPr lang="en-ID" sz="1200" b="0" i="0" kern="1200">
                <a:solidFill>
                  <a:schemeClr val="bg1"/>
                </a:solidFill>
                <a:effectLst/>
                <a:latin typeface="Inter" panose="020B0502030000000004" pitchFamily="34" charset="0"/>
                <a:ea typeface="Inter" panose="020B0502030000000004" pitchFamily="34" charset="0"/>
                <a:cs typeface="+mn-cs"/>
              </a:rPr>
              <a:t> id diam.</a:t>
            </a:r>
            <a:endParaRPr lang="en-US" sz="1200">
              <a:solidFill>
                <a:schemeClr val="bg1"/>
              </a:solidFill>
              <a:latin typeface="Inter" panose="020B0502030000000004" pitchFamily="34" charset="0"/>
              <a:ea typeface="Inter" panose="020B0502030000000004" pitchFamily="34" charset="0"/>
            </a:endParaRPr>
          </a:p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D365B26-F596-EA45-AF52-36E316A691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580" y="508825"/>
            <a:ext cx="1300073" cy="255800"/>
          </a:xfrm>
        </p:spPr>
        <p:txBody>
          <a:bodyPr>
            <a:noAutofit/>
          </a:bodyPr>
          <a:lstStyle>
            <a:lvl1pPr marL="0" indent="0">
              <a:buNone/>
              <a:defRPr sz="1100" b="1" i="0">
                <a:solidFill>
                  <a:srgbClr val="92D050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E22DA4CD-8157-2D4F-9C6F-48705B3461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5784" y="781893"/>
            <a:ext cx="3000442" cy="255800"/>
          </a:xfrm>
        </p:spPr>
        <p:txBody>
          <a:bodyPr>
            <a:no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D209E8AD-3539-4E48-BFA3-AF9A9F3616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5784" y="3305949"/>
            <a:ext cx="1300073" cy="255800"/>
          </a:xfrm>
        </p:spPr>
        <p:txBody>
          <a:bodyPr>
            <a:noAutofit/>
          </a:bodyPr>
          <a:lstStyle>
            <a:lvl1pPr marL="0" indent="0">
              <a:buNone/>
              <a:defRPr sz="1100" b="1" i="0">
                <a:solidFill>
                  <a:srgbClr val="92D050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8888856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11C776-7EF2-1741-9BD0-A5B6309F45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8735902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6795" y="6185309"/>
            <a:ext cx="2427514" cy="302577"/>
          </a:xfrm>
          <a:prstGeom prst="rect">
            <a:avLst/>
          </a:prstGeom>
        </p:spPr>
        <p:txBody>
          <a:bodyPr/>
          <a:lstStyle>
            <a:lvl1pPr algn="ctr">
              <a:defRPr sz="1100" b="0" baseline="0">
                <a:solidFill>
                  <a:schemeClr val="bg1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r>
              <a:rPr lang="en-US"/>
              <a:t>This is the end of present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5BCFBF-0ACE-654A-82B0-BA499475D9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6410" y="3216589"/>
            <a:ext cx="3599180" cy="42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1626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 txBox="1">
            <a:spLocks noGrp="1"/>
          </p:cNvSpPr>
          <p:nvPr>
            <p:ph type="sldNum" sz="quarter" idx="8"/>
          </p:nvPr>
        </p:nvSpPr>
        <p:spPr>
          <a:xfrm>
            <a:off x="11155966" y="6553200"/>
            <a:ext cx="407384" cy="22943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D1E92CE-EF42-4C5A-98A7-6D86E7BA7CBB}" type="slidenum">
              <a:rPr lang="en-ID" smtClean="0"/>
              <a:pPr/>
              <a:t>‹#›</a:t>
            </a:fld>
            <a:endParaRPr lang="en-ID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B2390-B390-FC4E-A867-AC618EA36808}"/>
              </a:ext>
            </a:extLst>
          </p:cNvPr>
          <p:cNvSpPr txBox="1"/>
          <p:nvPr userDrawn="1"/>
        </p:nvSpPr>
        <p:spPr>
          <a:xfrm>
            <a:off x="4094671" y="1285336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0" i="0">
              <a:solidFill>
                <a:schemeClr val="bg1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42ED76-B46C-EA41-A247-346F7F737F7A}"/>
              </a:ext>
            </a:extLst>
          </p:cNvPr>
          <p:cNvSpPr txBox="1"/>
          <p:nvPr userDrawn="1"/>
        </p:nvSpPr>
        <p:spPr>
          <a:xfrm>
            <a:off x="4094671" y="1817298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0" i="1">
              <a:solidFill>
                <a:schemeClr val="bg1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4B4D33-4FCB-6A4B-9B61-9C0920E09043}"/>
              </a:ext>
            </a:extLst>
          </p:cNvPr>
          <p:cNvSpPr txBox="1"/>
          <p:nvPr userDrawn="1"/>
        </p:nvSpPr>
        <p:spPr>
          <a:xfrm>
            <a:off x="4094671" y="2349260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0" i="0">
              <a:solidFill>
                <a:schemeClr val="bg1"/>
              </a:solidFill>
              <a:latin typeface="Arial" panose="020B0604020202020204" pitchFamily="34" charset="0"/>
              <a:ea typeface="Inter Medium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6DA7F5-FA86-0F43-8C54-8CEA0CDE2DE7}"/>
              </a:ext>
            </a:extLst>
          </p:cNvPr>
          <p:cNvSpPr txBox="1"/>
          <p:nvPr userDrawn="1"/>
        </p:nvSpPr>
        <p:spPr>
          <a:xfrm>
            <a:off x="4094671" y="2881222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0" i="1">
              <a:solidFill>
                <a:schemeClr val="bg1"/>
              </a:solidFill>
              <a:latin typeface="Arial" panose="020B0604020202020204" pitchFamily="34" charset="0"/>
              <a:ea typeface="Inter Medium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DEF1C0-1983-8C47-97F8-E202C77BF97F}"/>
              </a:ext>
            </a:extLst>
          </p:cNvPr>
          <p:cNvSpPr txBox="1"/>
          <p:nvPr userDrawn="1"/>
        </p:nvSpPr>
        <p:spPr>
          <a:xfrm>
            <a:off x="4094671" y="3413184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1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 Semi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1" i="0">
              <a:solidFill>
                <a:schemeClr val="bg1"/>
              </a:solidFill>
              <a:latin typeface="Arial" panose="020B0604020202020204" pitchFamily="34" charset="0"/>
              <a:ea typeface="Inter Semi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6DEB5F-2532-8045-A176-F09DB49EE3DF}"/>
              </a:ext>
            </a:extLst>
          </p:cNvPr>
          <p:cNvSpPr txBox="1"/>
          <p:nvPr userDrawn="1"/>
        </p:nvSpPr>
        <p:spPr>
          <a:xfrm>
            <a:off x="4094671" y="3945146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1" i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 Semi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1" i="1">
              <a:solidFill>
                <a:schemeClr val="bg1"/>
              </a:solidFill>
              <a:latin typeface="Arial" panose="020B0604020202020204" pitchFamily="34" charset="0"/>
              <a:ea typeface="Inter Semi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68E269-FD1D-1642-A323-FE7C2E535914}"/>
              </a:ext>
            </a:extLst>
          </p:cNvPr>
          <p:cNvSpPr txBox="1"/>
          <p:nvPr userDrawn="1"/>
        </p:nvSpPr>
        <p:spPr>
          <a:xfrm>
            <a:off x="4094671" y="4477108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1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1" i="0">
              <a:solidFill>
                <a:schemeClr val="bg1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E1390C-A089-8640-8465-07375FC6E42B}"/>
              </a:ext>
            </a:extLst>
          </p:cNvPr>
          <p:cNvSpPr txBox="1"/>
          <p:nvPr userDrawn="1"/>
        </p:nvSpPr>
        <p:spPr>
          <a:xfrm>
            <a:off x="4094671" y="5009070"/>
            <a:ext cx="5043577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1" i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The quick brown fox jumps over the lazy dog</a:t>
            </a:r>
            <a:endParaRPr lang="en-US" sz="1800" b="1" i="1">
              <a:solidFill>
                <a:schemeClr val="bg1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2B6AB1-5612-6247-977C-546238A30EA5}"/>
              </a:ext>
            </a:extLst>
          </p:cNvPr>
          <p:cNvSpPr txBox="1"/>
          <p:nvPr userDrawn="1"/>
        </p:nvSpPr>
        <p:spPr>
          <a:xfrm>
            <a:off x="2631058" y="1594452"/>
            <a:ext cx="1095554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0" kern="1200">
                <a:solidFill>
                  <a:srgbClr val="6100C0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Regular</a:t>
            </a:r>
            <a:endParaRPr lang="en-US" sz="1800" b="0" i="0">
              <a:solidFill>
                <a:srgbClr val="6100C0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175A53-608B-6441-9363-C1DDABB3A567}"/>
              </a:ext>
            </a:extLst>
          </p:cNvPr>
          <p:cNvSpPr txBox="1"/>
          <p:nvPr userDrawn="1"/>
        </p:nvSpPr>
        <p:spPr>
          <a:xfrm>
            <a:off x="2631058" y="2619561"/>
            <a:ext cx="1095554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0" kern="1200">
                <a:solidFill>
                  <a:srgbClr val="6100C0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Medium</a:t>
            </a:r>
            <a:endParaRPr lang="en-US" sz="1800" b="0" i="0">
              <a:solidFill>
                <a:srgbClr val="6100C0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B28544-0448-374A-9C52-870D40BA361D}"/>
              </a:ext>
            </a:extLst>
          </p:cNvPr>
          <p:cNvSpPr txBox="1"/>
          <p:nvPr userDrawn="1"/>
        </p:nvSpPr>
        <p:spPr>
          <a:xfrm>
            <a:off x="2631058" y="3656171"/>
            <a:ext cx="1095554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0" kern="1200">
                <a:solidFill>
                  <a:srgbClr val="6100C0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Semi Bold</a:t>
            </a:r>
            <a:endParaRPr lang="en-US" sz="1800" b="0" i="0">
              <a:solidFill>
                <a:srgbClr val="6100C0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C0B9DD-62A9-CF4B-9CA9-F24BAF3E4401}"/>
              </a:ext>
            </a:extLst>
          </p:cNvPr>
          <p:cNvSpPr txBox="1"/>
          <p:nvPr userDrawn="1"/>
        </p:nvSpPr>
        <p:spPr>
          <a:xfrm>
            <a:off x="2631058" y="4692781"/>
            <a:ext cx="1095554" cy="370936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ID" sz="1800" b="0" i="0" kern="1200">
                <a:solidFill>
                  <a:srgbClr val="6100C0"/>
                </a:solidFill>
                <a:effectLst/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Bold</a:t>
            </a:r>
            <a:endParaRPr lang="en-US" sz="1800" b="0" i="0">
              <a:solidFill>
                <a:srgbClr val="6100C0"/>
              </a:solidFill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50819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3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6885A3C0-F34D-D44F-ABFF-63F81A694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" r="312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79B2891-DCC7-DB4F-9288-209DB87B31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5F41A8-F7AC-4740-94AF-DEDE1FF847A1}"/>
              </a:ext>
            </a:extLst>
          </p:cNvPr>
          <p:cNvSpPr/>
          <p:nvPr/>
        </p:nvSpPr>
        <p:spPr>
          <a:xfrm>
            <a:off x="1508064" y="4377910"/>
            <a:ext cx="10683936" cy="2003840"/>
          </a:xfrm>
          <a:prstGeom prst="rect">
            <a:avLst/>
          </a:prstGeom>
          <a:solidFill>
            <a:schemeClr val="tx1">
              <a:alpha val="64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8726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90700" y="4597400"/>
            <a:ext cx="9664700" cy="634233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1790700" y="4661295"/>
            <a:ext cx="9772650" cy="755224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1790700" y="5451123"/>
            <a:ext cx="9772650" cy="415479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7E016BC-08B0-F245-B7B0-972290891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210" y="313369"/>
            <a:ext cx="3599180" cy="42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1353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97001"/>
            <a:ext cx="10972800" cy="4572000"/>
          </a:xfrm>
        </p:spPr>
        <p:txBody>
          <a:bodyPr/>
          <a:lstStyle>
            <a:lvl1pPr marL="0" indent="0">
              <a:buNone/>
              <a:defRPr sz="24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20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A1B46A5-EAF6-4EDC-A8F8-C9D7CF7FC63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C46579-5539-0A4F-BBFB-22481C2E1630}"/>
              </a:ext>
            </a:extLst>
          </p:cNvPr>
          <p:cNvSpPr/>
          <p:nvPr userDrawn="1"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1BC604A-1DF3-9943-A20C-99FC472E6D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E6ED8C1-29A8-B447-A936-27474EECD293}"/>
              </a:ext>
            </a:extLst>
          </p:cNvPr>
          <p:cNvSpPr txBox="1"/>
          <p:nvPr userDrawn="1"/>
        </p:nvSpPr>
        <p:spPr>
          <a:xfrm>
            <a:off x="1132114" y="6647543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92554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DEBD81-5C31-AD4D-B319-14D9744ABE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4B2FFA-752C-A243-B5F6-96752737EAA9}"/>
              </a:ext>
            </a:extLst>
          </p:cNvPr>
          <p:cNvSpPr/>
          <p:nvPr userDrawn="1"/>
        </p:nvSpPr>
        <p:spPr>
          <a:xfrm>
            <a:off x="1016000" y="1279905"/>
            <a:ext cx="10160000" cy="40238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7DF2EC3-9DC0-1945-BCE6-C314F599CE46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1977882" y="3593686"/>
            <a:ext cx="0" cy="266700"/>
          </a:xfrm>
          <a:prstGeom prst="line">
            <a:avLst/>
          </a:prstGeom>
          <a:ln w="41275">
            <a:solidFill>
              <a:srgbClr val="620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6F7E897-089C-8A44-BA7D-5F78E01FF503}"/>
              </a:ext>
            </a:extLst>
          </p:cNvPr>
          <p:cNvSpPr txBox="1"/>
          <p:nvPr userDrawn="1"/>
        </p:nvSpPr>
        <p:spPr>
          <a:xfrm>
            <a:off x="1751590" y="2772630"/>
            <a:ext cx="1184940" cy="8638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3000"/>
              </a:lnSpc>
            </a:pPr>
            <a:r>
              <a:rPr lang="id-ID" sz="32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Slide</a:t>
            </a:r>
          </a:p>
          <a:p>
            <a:pPr>
              <a:lnSpc>
                <a:spcPts val="3000"/>
              </a:lnSpc>
            </a:pPr>
            <a:r>
              <a:rPr lang="id-ID" sz="32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Tit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BEB3509A-F309-3B44-8F70-B3B7FF9052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DC606E1-A106-BD4D-A244-ECAF2564008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58251" y="716915"/>
            <a:ext cx="3688360" cy="5149850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7B6E60-4439-2C41-99D6-9EEE3D280846}"/>
              </a:ext>
            </a:extLst>
          </p:cNvPr>
          <p:cNvSpPr txBox="1"/>
          <p:nvPr userDrawn="1"/>
        </p:nvSpPr>
        <p:spPr>
          <a:xfrm>
            <a:off x="6958149" y="2098766"/>
            <a:ext cx="3561805" cy="2673531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indent="0">
              <a:buNone/>
            </a:pPr>
            <a:endParaRPr lang="en-US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0923C02-E34F-1D49-93E9-EB1D7ACA1A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9656" y="2329421"/>
            <a:ext cx="4054436" cy="21032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17005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2"/>
          </p:nvPr>
        </p:nvSpPr>
        <p:spPr>
          <a:xfrm>
            <a:off x="612772" y="1248229"/>
            <a:ext cx="5378453" cy="5123996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3"/>
          </p:nvPr>
        </p:nvSpPr>
        <p:spPr>
          <a:xfrm>
            <a:off x="6184897" y="1248229"/>
            <a:ext cx="5378453" cy="5123996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1A3AB3-20DC-1443-94FF-2D64F984C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F5C331-0212-D740-B3B5-3EB3FAE59232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17FD41-AEC3-274E-A4D9-1E493C14C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59C32E-48C0-5E42-84B5-49E13EF1720F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5627308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With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8308" y="1270973"/>
            <a:ext cx="10945041" cy="5094991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0DCAE20-2CF0-DD40-B891-EB2524F70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4720045-C1D9-6A45-A66B-97E858AFF17B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091118F4-0442-1746-B02C-43B9D37A0D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6B6DA2-8F93-0043-917D-8FD80BA72E4B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19562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0DCAE20-2CF0-DD40-B891-EB2524F70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4720045-C1D9-6A45-A66B-97E858AFF17B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091118F4-0442-1746-B02C-43B9D37A0D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6B6DA2-8F93-0043-917D-8FD80BA72E4B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A6985C06-4B7A-C34B-A3E4-6754BE4B7E80}"/>
              </a:ext>
            </a:extLst>
          </p:cNvPr>
          <p:cNvSpPr/>
          <p:nvPr/>
        </p:nvSpPr>
        <p:spPr>
          <a:xfrm>
            <a:off x="0" y="1463046"/>
            <a:ext cx="12192000" cy="4918503"/>
          </a:xfrm>
          <a:prstGeom prst="rect">
            <a:avLst/>
          </a:prstGeom>
          <a:solidFill>
            <a:schemeClr val="bg1">
              <a:lumMod val="85000"/>
              <a:alpha val="37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175683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DF349-9979-1F48-8B13-A497F4409D6F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0D6D88-00DF-8B46-994E-E7C7BB650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27A034F-EC22-B74F-AA66-D845116DFF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6319" y="1489167"/>
            <a:ext cx="662265" cy="6618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884DD394-AEF0-0C49-87B1-268CA247E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42358" y="1489167"/>
            <a:ext cx="987334" cy="296534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2D38258A-D5F4-4C47-ADC3-334B4A6A78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42357" y="1854485"/>
            <a:ext cx="3208019" cy="993218"/>
          </a:xfrm>
        </p:spPr>
        <p:txBody>
          <a:bodyPr>
            <a:noAutofit/>
          </a:bodyPr>
          <a:lstStyle>
            <a:lvl1pPr marL="0" indent="0">
              <a:buNone/>
              <a:defRPr sz="11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66CA45E-D9CD-024F-9E3B-CC912C1AD7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6319" y="3098074"/>
            <a:ext cx="662265" cy="6618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43CF4625-6615-3C4D-AABE-FFBEEDCDC3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2358" y="3098074"/>
            <a:ext cx="987334" cy="296534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2C4FFB6-1456-964D-8484-30B599579E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2357" y="3463392"/>
            <a:ext cx="3208019" cy="993218"/>
          </a:xfrm>
        </p:spPr>
        <p:txBody>
          <a:bodyPr>
            <a:noAutofit/>
          </a:bodyPr>
          <a:lstStyle>
            <a:lvl1pPr marL="0" indent="0">
              <a:buNone/>
              <a:defRPr sz="11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5994E237-9C7F-7547-AF0B-0633CBCCCC7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6319" y="4706981"/>
            <a:ext cx="662265" cy="6618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AECABD0F-66CF-2F4D-BCF9-0F5C9181C7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42358" y="4706981"/>
            <a:ext cx="987334" cy="296534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FF07BCEA-CFB8-F841-95B1-1372ECAF1B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42357" y="5072299"/>
            <a:ext cx="3208019" cy="993218"/>
          </a:xfrm>
        </p:spPr>
        <p:txBody>
          <a:bodyPr>
            <a:noAutofit/>
          </a:bodyPr>
          <a:lstStyle>
            <a:lvl1pPr marL="0" indent="0">
              <a:buNone/>
              <a:defRPr sz="11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85D7B916-70CE-A546-A3E7-B6251D97F8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619293" y="1494591"/>
            <a:ext cx="662265" cy="6618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5B46135-B5F5-8442-94FC-DE8667AA93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5332" y="1494591"/>
            <a:ext cx="987334" cy="296534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E2B0C677-EE58-2C44-8927-B513B182F4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55331" y="1859909"/>
            <a:ext cx="3208019" cy="993218"/>
          </a:xfrm>
        </p:spPr>
        <p:txBody>
          <a:bodyPr>
            <a:noAutofit/>
          </a:bodyPr>
          <a:lstStyle>
            <a:lvl1pPr marL="0" indent="0">
              <a:buNone/>
              <a:defRPr sz="11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BC447F5-8130-0F4A-A047-E082C36CFB5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19293" y="3137890"/>
            <a:ext cx="662265" cy="6618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98AA7EC1-6F45-474C-9168-ED9EB6FE8C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5332" y="3137890"/>
            <a:ext cx="987334" cy="296534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DCF35186-880D-834F-9FE2-0350F6D4E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5331" y="3503208"/>
            <a:ext cx="3208019" cy="993218"/>
          </a:xfrm>
        </p:spPr>
        <p:txBody>
          <a:bodyPr>
            <a:noAutofit/>
          </a:bodyPr>
          <a:lstStyle>
            <a:lvl1pPr marL="0" indent="0">
              <a:buNone/>
              <a:defRPr sz="11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135E8B8-2384-B249-894B-ECB4BFE2A3D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619293" y="4746797"/>
            <a:ext cx="662265" cy="6618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2AAC732E-13D8-234B-AB95-4313DA9018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5332" y="4746797"/>
            <a:ext cx="987334" cy="296534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14360506-54CB-D64D-9822-7EA043B6A6E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5331" y="5112115"/>
            <a:ext cx="3208019" cy="993218"/>
          </a:xfrm>
        </p:spPr>
        <p:txBody>
          <a:bodyPr>
            <a:noAutofit/>
          </a:bodyPr>
          <a:lstStyle>
            <a:lvl1pPr marL="0" indent="0">
              <a:buNone/>
              <a:defRPr sz="11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nisi </a:t>
            </a:r>
            <a:r>
              <a:rPr lang="en-US" err="1"/>
              <a:t>massa</a:t>
            </a:r>
            <a:r>
              <a:rPr lang="en-US"/>
              <a:t>, sed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. </a:t>
            </a:r>
            <a:r>
              <a:rPr lang="en-US" err="1"/>
              <a:t>Proin</a:t>
            </a:r>
            <a:r>
              <a:rPr lang="en-US"/>
              <a:t> non diam porta, maximus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cursus </a:t>
            </a:r>
            <a:r>
              <a:rPr lang="en-US" err="1"/>
              <a:t>fringilla</a:t>
            </a:r>
            <a:r>
              <a:rPr lang="en-US"/>
              <a:t>.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81B929B-6AB9-BD48-A2D9-9195DAD0F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E3B13D-2F28-9042-9149-292D9D373944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4573485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itle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E7930BC-D681-514B-B042-ECD4B2226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058AB-8B39-004D-A2BC-FF2B1D6C4F72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89C99A1-03E9-1740-9E68-1B297B2B04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1DE255B-E947-8944-A7F0-58D1CC371211}"/>
              </a:ext>
            </a:extLst>
          </p:cNvPr>
          <p:cNvCxnSpPr/>
          <p:nvPr/>
        </p:nvCxnSpPr>
        <p:spPr>
          <a:xfrm>
            <a:off x="609600" y="103517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85974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Long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E7930BC-D681-514B-B042-ECD4B2226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058AB-8B39-004D-A2BC-FF2B1D6C4F72}"/>
              </a:ext>
            </a:extLst>
          </p:cNvPr>
          <p:cNvSpPr/>
          <p:nvPr/>
        </p:nvSpPr>
        <p:spPr>
          <a:xfrm>
            <a:off x="706319" y="297180"/>
            <a:ext cx="387350" cy="45719"/>
          </a:xfrm>
          <a:prstGeom prst="rect">
            <a:avLst/>
          </a:prstGeom>
          <a:solidFill>
            <a:srgbClr val="62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89C99A1-03E9-1740-9E68-1B297B2B04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8900" y="377952"/>
            <a:ext cx="1333500" cy="49128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1DE255B-E947-8944-A7F0-58D1CC371211}"/>
              </a:ext>
            </a:extLst>
          </p:cNvPr>
          <p:cNvCxnSpPr/>
          <p:nvPr/>
        </p:nvCxnSpPr>
        <p:spPr>
          <a:xfrm>
            <a:off x="609600" y="1221782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90858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975A56-476A-E343-9840-66D3BB7B0E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FA1653-B11A-A844-BAC5-47B3C4AA5C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600">
              <a:ln>
                <a:solidFill>
                  <a:schemeClr val="tx1"/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8CA5C64B-8F16-F04D-9029-AB2AE34824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91335" y="3212864"/>
            <a:ext cx="9664631" cy="432272"/>
          </a:xfrm>
        </p:spPr>
        <p:txBody>
          <a:bodyPr>
            <a:noAutofit/>
          </a:bodyPr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ea typeface="Inter Medium" panose="020B0502030000000004" pitchFamily="34" charset="0"/>
                <a:cs typeface="Arial" panose="020B0604020202020204" pitchFamily="34" charset="0"/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0737618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16" imgH="216" progId="TCLayout.ActiveDocument.1">
                  <p:embed/>
                </p:oleObj>
              </mc:Choice>
              <mc:Fallback>
                <p:oleObj name="think-cell Slide" r:id="rId2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-1481559" y="6418547"/>
            <a:ext cx="132082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Line 14"/>
          <p:cNvSpPr>
            <a:spLocks noChangeShapeType="1"/>
          </p:cNvSpPr>
          <p:nvPr/>
        </p:nvSpPr>
        <p:spPr bwMode="auto">
          <a:xfrm>
            <a:off x="-142876" y="6375889"/>
            <a:ext cx="0" cy="49889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Rectangle 17"/>
          <p:cNvSpPr>
            <a:spLocks noChangeArrowheads="1"/>
          </p:cNvSpPr>
          <p:nvPr/>
        </p:nvSpPr>
        <p:spPr bwMode="auto">
          <a:xfrm>
            <a:off x="-1629274" y="154933"/>
            <a:ext cx="149592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NLY MAIN AND</a:t>
            </a:r>
            <a:b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CONDARY TITLES</a:t>
            </a:r>
            <a:b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N THIS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>
            <a:off x="-133351" y="-1"/>
            <a:ext cx="0" cy="97450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Rectangle 19"/>
          <p:cNvSpPr>
            <a:spLocks noChangeArrowheads="1"/>
          </p:cNvSpPr>
          <p:nvPr/>
        </p:nvSpPr>
        <p:spPr bwMode="auto">
          <a:xfrm>
            <a:off x="-1143536" y="3573016"/>
            <a:ext cx="98279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IN CONTENT</a:t>
            </a:r>
            <a:b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REA</a:t>
            </a:r>
          </a:p>
        </p:txBody>
      </p:sp>
      <p:sp>
        <p:nvSpPr>
          <p:cNvPr id="17" name="Line 20"/>
          <p:cNvSpPr>
            <a:spLocks noChangeShapeType="1"/>
          </p:cNvSpPr>
          <p:nvPr/>
        </p:nvSpPr>
        <p:spPr bwMode="auto">
          <a:xfrm>
            <a:off x="-142876" y="1130753"/>
            <a:ext cx="0" cy="523036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 flipH="1">
            <a:off x="11573932" y="7029400"/>
            <a:ext cx="618067" cy="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Rectangle 25"/>
          <p:cNvSpPr>
            <a:spLocks noChangeArrowheads="1"/>
          </p:cNvSpPr>
          <p:nvPr/>
        </p:nvSpPr>
        <p:spPr bwMode="auto">
          <a:xfrm>
            <a:off x="-144693" y="7029712"/>
            <a:ext cx="8889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Line 26"/>
          <p:cNvSpPr>
            <a:spLocks noChangeShapeType="1"/>
          </p:cNvSpPr>
          <p:nvPr/>
        </p:nvSpPr>
        <p:spPr bwMode="auto">
          <a:xfrm flipH="1">
            <a:off x="0" y="7029400"/>
            <a:ext cx="618067" cy="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E9BC600-2941-48B0-AE91-9C1EA2F34287}"/>
              </a:ext>
            </a:extLst>
          </p:cNvPr>
          <p:cNvGrpSpPr/>
          <p:nvPr/>
        </p:nvGrpSpPr>
        <p:grpSpPr>
          <a:xfrm>
            <a:off x="-673430" y="1130753"/>
            <a:ext cx="624747" cy="5230360"/>
            <a:chOff x="-673430" y="1130753"/>
            <a:chExt cx="624747" cy="5230360"/>
          </a:xfrm>
        </p:grpSpPr>
        <p:cxnSp>
          <p:nvCxnSpPr>
            <p:cNvPr id="23" name="Straight Connector 22"/>
            <p:cNvCxnSpPr/>
            <p:nvPr userDrawn="1"/>
          </p:nvCxnSpPr>
          <p:spPr>
            <a:xfrm>
              <a:off x="-673430" y="6361113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>
              <a:cxnSpLocks/>
            </p:cNvCxnSpPr>
            <p:nvPr userDrawn="1"/>
          </p:nvCxnSpPr>
          <p:spPr>
            <a:xfrm>
              <a:off x="-673430" y="1130753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7C08790-61B5-42D9-ADD9-6B702CDAB6B8}"/>
              </a:ext>
            </a:extLst>
          </p:cNvPr>
          <p:cNvGrpSpPr/>
          <p:nvPr/>
        </p:nvGrpSpPr>
        <p:grpSpPr>
          <a:xfrm>
            <a:off x="-673430" y="-1"/>
            <a:ext cx="624747" cy="974500"/>
            <a:chOff x="-673430" y="0"/>
            <a:chExt cx="624747" cy="974500"/>
          </a:xfrm>
        </p:grpSpPr>
        <p:cxnSp>
          <p:nvCxnSpPr>
            <p:cNvPr id="25" name="Straight Connector 24"/>
            <p:cNvCxnSpPr/>
            <p:nvPr userDrawn="1"/>
          </p:nvCxnSpPr>
          <p:spPr>
            <a:xfrm>
              <a:off x="-673430" y="974500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-673430" y="0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Straight Connector 27"/>
          <p:cNvCxnSpPr/>
          <p:nvPr/>
        </p:nvCxnSpPr>
        <p:spPr>
          <a:xfrm>
            <a:off x="-673430" y="6858000"/>
            <a:ext cx="62474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rot="5400000" flipH="1" flipV="1">
            <a:off x="-180020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rot="5400000" flipH="1" flipV="1">
            <a:off x="11393913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rot="5400000" flipH="1" flipV="1">
            <a:off x="12011980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rot="5400000" flipH="1" flipV="1">
            <a:off x="438047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25"/>
          <p:cNvSpPr>
            <a:spLocks noChangeArrowheads="1"/>
          </p:cNvSpPr>
          <p:nvPr/>
        </p:nvSpPr>
        <p:spPr bwMode="auto">
          <a:xfrm>
            <a:off x="11438508" y="7029712"/>
            <a:ext cx="8889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92" name="Group 191"/>
          <p:cNvGrpSpPr/>
          <p:nvPr/>
        </p:nvGrpSpPr>
        <p:grpSpPr>
          <a:xfrm>
            <a:off x="12346517" y="96366"/>
            <a:ext cx="2374364" cy="2642543"/>
            <a:chOff x="11862935" y="1234416"/>
            <a:chExt cx="2374364" cy="2642543"/>
          </a:xfrm>
        </p:grpSpPr>
        <p:grpSp>
          <p:nvGrpSpPr>
            <p:cNvPr id="193" name="Group 192"/>
            <p:cNvGrpSpPr/>
            <p:nvPr userDrawn="1"/>
          </p:nvGrpSpPr>
          <p:grpSpPr>
            <a:xfrm>
              <a:off x="13500435" y="1234416"/>
              <a:ext cx="327172" cy="2637509"/>
              <a:chOff x="14335600" y="1234416"/>
              <a:chExt cx="327172" cy="2637509"/>
            </a:xfrm>
          </p:grpSpPr>
          <p:sp>
            <p:nvSpPr>
              <p:cNvPr id="257" name="Rectangle 256"/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2225370"/>
                <a:ext cx="330947" cy="327172"/>
              </a:xfrm>
              <a:prstGeom prst="rect">
                <a:avLst/>
              </a:prstGeom>
              <a:solidFill>
                <a:srgbClr val="0058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8" name="Rectangle 257"/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2225370"/>
                <a:ext cx="33094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9" name="Rectangle 258"/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2555058"/>
                <a:ext cx="330947" cy="327172"/>
              </a:xfrm>
              <a:prstGeom prst="rect">
                <a:avLst/>
              </a:prstGeom>
              <a:solidFill>
                <a:srgbClr val="287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0" name="Rectangle 259"/>
              <p:cNvSpPr>
                <a:spLocks noChangeArrowheads="1"/>
              </p:cNvSpPr>
              <p:nvPr userDrawn="1"/>
            </p:nvSpPr>
            <p:spPr bwMode="auto">
              <a:xfrm rot="5400000">
                <a:off x="14334970" y="2884748"/>
                <a:ext cx="328431" cy="327172"/>
              </a:xfrm>
              <a:prstGeom prst="rect">
                <a:avLst/>
              </a:prstGeom>
              <a:solidFill>
                <a:srgbClr val="77A0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1" name="Rectangle 260"/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1236304"/>
                <a:ext cx="330947" cy="327172"/>
              </a:xfrm>
              <a:prstGeom prst="rect">
                <a:avLst/>
              </a:prstGeom>
              <a:solidFill>
                <a:srgbClr val="003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2" name="Rectangle 261"/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1565993"/>
                <a:ext cx="330947" cy="327172"/>
              </a:xfrm>
              <a:prstGeom prst="rect">
                <a:avLst/>
              </a:prstGeom>
              <a:solidFill>
                <a:srgbClr val="3C6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3" name="Rectangle 262"/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1565993"/>
                <a:ext cx="33094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4" name="Freeform 263"/>
              <p:cNvSpPr>
                <a:spLocks/>
              </p:cNvSpPr>
              <p:nvPr userDrawn="1"/>
            </p:nvSpPr>
            <p:spPr bwMode="auto">
              <a:xfrm rot="5400000">
                <a:off x="14334970" y="1895682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260 h 260"/>
                  <a:gd name="T6" fmla="*/ 261 w 261"/>
                  <a:gd name="T7" fmla="*/ 260 h 260"/>
                  <a:gd name="T8" fmla="*/ 261 w 261"/>
                  <a:gd name="T9" fmla="*/ 0 h 260"/>
                  <a:gd name="T10" fmla="*/ 261 w 261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0"/>
                    </a:lnTo>
                    <a:lnTo>
                      <a:pt x="261" y="0"/>
                    </a:lnTo>
                    <a:close/>
                  </a:path>
                </a:pathLst>
              </a:custGeom>
              <a:solidFill>
                <a:srgbClr val="758C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5" name="Freeform 264"/>
              <p:cNvSpPr>
                <a:spLocks/>
              </p:cNvSpPr>
              <p:nvPr userDrawn="1"/>
            </p:nvSpPr>
            <p:spPr bwMode="auto">
              <a:xfrm rot="5400000">
                <a:off x="14334970" y="1895682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260 h 260"/>
                  <a:gd name="T6" fmla="*/ 261 w 261"/>
                  <a:gd name="T7" fmla="*/ 260 h 260"/>
                  <a:gd name="T8" fmla="*/ 261 w 261"/>
                  <a:gd name="T9" fmla="*/ 0 h 260"/>
                  <a:gd name="T10" fmla="*/ 261 w 261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0"/>
                    </a:lnTo>
                    <a:lnTo>
                      <a:pt x="2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6" name="Rectangle 265"/>
              <p:cNvSpPr>
                <a:spLocks noChangeArrowheads="1"/>
              </p:cNvSpPr>
              <p:nvPr userDrawn="1"/>
            </p:nvSpPr>
            <p:spPr bwMode="auto">
              <a:xfrm rot="5400000">
                <a:off x="14498556" y="2060526"/>
                <a:ext cx="1259" cy="327172"/>
              </a:xfrm>
              <a:prstGeom prst="rect">
                <a:avLst/>
              </a:prstGeom>
              <a:solidFill>
                <a:srgbClr val="004A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7" name="Rectangle 266"/>
              <p:cNvSpPr>
                <a:spLocks noChangeArrowheads="1"/>
              </p:cNvSpPr>
              <p:nvPr userDrawn="1"/>
            </p:nvSpPr>
            <p:spPr bwMode="auto">
              <a:xfrm rot="5400000">
                <a:off x="14498556" y="2060526"/>
                <a:ext cx="1259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8" name="Rectangle 267"/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3214436"/>
                <a:ext cx="330947" cy="327172"/>
              </a:xfrm>
              <a:prstGeom prst="rect">
                <a:avLst/>
              </a:prstGeom>
              <a:solidFill>
                <a:srgbClr val="C1B5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69" name="Rectangle 268"/>
              <p:cNvSpPr>
                <a:spLocks noChangeArrowheads="1"/>
              </p:cNvSpPr>
              <p:nvPr userDrawn="1"/>
            </p:nvSpPr>
            <p:spPr bwMode="auto">
              <a:xfrm rot="5400000">
                <a:off x="14334341" y="3543495"/>
                <a:ext cx="329689" cy="327172"/>
              </a:xfrm>
              <a:prstGeom prst="rect">
                <a:avLst/>
              </a:prstGeom>
              <a:solidFill>
                <a:srgbClr val="D0C7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94" name="Group 193"/>
            <p:cNvGrpSpPr/>
            <p:nvPr userDrawn="1"/>
          </p:nvGrpSpPr>
          <p:grpSpPr>
            <a:xfrm>
              <a:off x="12683573" y="1234416"/>
              <a:ext cx="327172" cy="2633735"/>
              <a:chOff x="13074729" y="1234416"/>
              <a:chExt cx="327172" cy="2633735"/>
            </a:xfrm>
          </p:grpSpPr>
          <p:sp>
            <p:nvSpPr>
              <p:cNvPr id="244" name="Rectangle 243"/>
              <p:cNvSpPr>
                <a:spLocks noChangeArrowheads="1"/>
              </p:cNvSpPr>
              <p:nvPr userDrawn="1"/>
            </p:nvSpPr>
            <p:spPr bwMode="auto">
              <a:xfrm rot="5400000">
                <a:off x="13073470" y="2219707"/>
                <a:ext cx="329689" cy="327172"/>
              </a:xfrm>
              <a:prstGeom prst="rect">
                <a:avLst/>
              </a:prstGeom>
              <a:solidFill>
                <a:srgbClr val="003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5" name="Rectangle 244"/>
              <p:cNvSpPr>
                <a:spLocks noChangeArrowheads="1"/>
              </p:cNvSpPr>
              <p:nvPr userDrawn="1"/>
            </p:nvSpPr>
            <p:spPr bwMode="auto">
              <a:xfrm rot="5400000">
                <a:off x="13073470" y="2219707"/>
                <a:ext cx="329689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6" name="Freeform 245"/>
              <p:cNvSpPr>
                <a:spLocks/>
              </p:cNvSpPr>
              <p:nvPr userDrawn="1"/>
            </p:nvSpPr>
            <p:spPr bwMode="auto">
              <a:xfrm rot="5400000">
                <a:off x="13074099" y="2548767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0 h 260"/>
                  <a:gd name="T6" fmla="*/ 0 w 261"/>
                  <a:gd name="T7" fmla="*/ 260 h 260"/>
                  <a:gd name="T8" fmla="*/ 261 w 261"/>
                  <a:gd name="T9" fmla="*/ 260 h 260"/>
                  <a:gd name="T10" fmla="*/ 261 w 261"/>
                  <a:gd name="T11" fmla="*/ 260 h 260"/>
                  <a:gd name="T12" fmla="*/ 261 w 261"/>
                  <a:gd name="T13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260"/>
                    </a:lnTo>
                    <a:lnTo>
                      <a:pt x="261" y="0"/>
                    </a:lnTo>
                    <a:close/>
                  </a:path>
                </a:pathLst>
              </a:custGeom>
              <a:solidFill>
                <a:srgbClr val="3C6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7" name="Freeform 246"/>
              <p:cNvSpPr>
                <a:spLocks/>
              </p:cNvSpPr>
              <p:nvPr userDrawn="1"/>
            </p:nvSpPr>
            <p:spPr bwMode="auto">
              <a:xfrm rot="5400000">
                <a:off x="13074099" y="2548767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0 h 260"/>
                  <a:gd name="T6" fmla="*/ 0 w 261"/>
                  <a:gd name="T7" fmla="*/ 260 h 260"/>
                  <a:gd name="T8" fmla="*/ 261 w 261"/>
                  <a:gd name="T9" fmla="*/ 260 h 260"/>
                  <a:gd name="T10" fmla="*/ 261 w 261"/>
                  <a:gd name="T11" fmla="*/ 260 h 260"/>
                  <a:gd name="T12" fmla="*/ 261 w 261"/>
                  <a:gd name="T13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260"/>
                    </a:lnTo>
                    <a:lnTo>
                      <a:pt x="2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8" name="Rectangle 247"/>
              <p:cNvSpPr>
                <a:spLocks noChangeArrowheads="1"/>
              </p:cNvSpPr>
              <p:nvPr userDrawn="1"/>
            </p:nvSpPr>
            <p:spPr bwMode="auto">
              <a:xfrm rot="5400000">
                <a:off x="13237685" y="2385181"/>
                <a:ext cx="1259" cy="327172"/>
              </a:xfrm>
              <a:prstGeom prst="rect">
                <a:avLst/>
              </a:prstGeom>
              <a:solidFill>
                <a:srgbClr val="003A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9" name="Rectangle 248"/>
              <p:cNvSpPr>
                <a:spLocks noChangeArrowheads="1"/>
              </p:cNvSpPr>
              <p:nvPr userDrawn="1"/>
            </p:nvSpPr>
            <p:spPr bwMode="auto">
              <a:xfrm rot="5400000">
                <a:off x="13237685" y="2385181"/>
                <a:ext cx="1259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0" name="Freeform 249"/>
              <p:cNvSpPr>
                <a:spLocks/>
              </p:cNvSpPr>
              <p:nvPr userDrawn="1"/>
            </p:nvSpPr>
            <p:spPr bwMode="auto">
              <a:xfrm rot="5400000">
                <a:off x="13072841" y="2878456"/>
                <a:ext cx="330947" cy="327172"/>
              </a:xfrm>
              <a:custGeom>
                <a:avLst/>
                <a:gdLst>
                  <a:gd name="T0" fmla="*/ 263 w 263"/>
                  <a:gd name="T1" fmla="*/ 0 h 260"/>
                  <a:gd name="T2" fmla="*/ 0 w 263"/>
                  <a:gd name="T3" fmla="*/ 0 h 260"/>
                  <a:gd name="T4" fmla="*/ 0 w 263"/>
                  <a:gd name="T5" fmla="*/ 0 h 260"/>
                  <a:gd name="T6" fmla="*/ 0 w 263"/>
                  <a:gd name="T7" fmla="*/ 260 h 260"/>
                  <a:gd name="T8" fmla="*/ 263 w 263"/>
                  <a:gd name="T9" fmla="*/ 260 h 260"/>
                  <a:gd name="T10" fmla="*/ 263 w 263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0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3" y="260"/>
                    </a:lnTo>
                    <a:lnTo>
                      <a:pt x="263" y="0"/>
                    </a:lnTo>
                    <a:close/>
                  </a:path>
                </a:pathLst>
              </a:custGeom>
              <a:solidFill>
                <a:srgbClr val="758C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1" name="Freeform 250"/>
              <p:cNvSpPr>
                <a:spLocks/>
              </p:cNvSpPr>
              <p:nvPr userDrawn="1"/>
            </p:nvSpPr>
            <p:spPr bwMode="auto">
              <a:xfrm rot="5400000">
                <a:off x="13072841" y="2878456"/>
                <a:ext cx="330947" cy="327172"/>
              </a:xfrm>
              <a:custGeom>
                <a:avLst/>
                <a:gdLst>
                  <a:gd name="T0" fmla="*/ 263 w 263"/>
                  <a:gd name="T1" fmla="*/ 0 h 260"/>
                  <a:gd name="T2" fmla="*/ 0 w 263"/>
                  <a:gd name="T3" fmla="*/ 0 h 260"/>
                  <a:gd name="T4" fmla="*/ 0 w 263"/>
                  <a:gd name="T5" fmla="*/ 0 h 260"/>
                  <a:gd name="T6" fmla="*/ 0 w 263"/>
                  <a:gd name="T7" fmla="*/ 260 h 260"/>
                  <a:gd name="T8" fmla="*/ 263 w 263"/>
                  <a:gd name="T9" fmla="*/ 260 h 260"/>
                  <a:gd name="T10" fmla="*/ 263 w 263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0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3" y="260"/>
                    </a:lnTo>
                    <a:lnTo>
                      <a:pt x="26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2" name="Rectangle 251"/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1236304"/>
                <a:ext cx="330947" cy="327172"/>
              </a:xfrm>
              <a:prstGeom prst="rect">
                <a:avLst/>
              </a:prstGeom>
              <a:solidFill>
                <a:srgbClr val="43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3" name="Rectangle 252"/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1565993"/>
                <a:ext cx="330947" cy="327172"/>
              </a:xfrm>
              <a:prstGeom prst="rect">
                <a:avLst/>
              </a:prstGeom>
              <a:solidFill>
                <a:srgbClr val="684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4" name="Rectangle 253"/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1891907"/>
                <a:ext cx="330947" cy="327172"/>
              </a:xfrm>
              <a:prstGeom prst="rect">
                <a:avLst/>
              </a:prstGeom>
              <a:solidFill>
                <a:srgbClr val="947E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5" name="Rectangle 254"/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3209402"/>
                <a:ext cx="330947" cy="327172"/>
              </a:xfrm>
              <a:prstGeom prst="rect">
                <a:avLst/>
              </a:prstGeom>
              <a:solidFill>
                <a:srgbClr val="C1B5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56" name="Rectangle 255"/>
              <p:cNvSpPr>
                <a:spLocks noChangeArrowheads="1"/>
              </p:cNvSpPr>
              <p:nvPr userDrawn="1"/>
            </p:nvSpPr>
            <p:spPr bwMode="auto">
              <a:xfrm rot="5400000">
                <a:off x="13073470" y="3539721"/>
                <a:ext cx="329689" cy="327172"/>
              </a:xfrm>
              <a:prstGeom prst="rect">
                <a:avLst/>
              </a:prstGeom>
              <a:solidFill>
                <a:srgbClr val="D0C7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95" name="Group 194"/>
            <p:cNvGrpSpPr/>
            <p:nvPr userDrawn="1"/>
          </p:nvGrpSpPr>
          <p:grpSpPr>
            <a:xfrm>
              <a:off x="13092004" y="1234416"/>
              <a:ext cx="327172" cy="2642543"/>
              <a:chOff x="13713973" y="1234416"/>
              <a:chExt cx="327172" cy="2642543"/>
            </a:xfrm>
          </p:grpSpPr>
          <p:sp>
            <p:nvSpPr>
              <p:cNvPr id="231" name="Rectangle 230"/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2227887"/>
                <a:ext cx="328431" cy="327172"/>
              </a:xfrm>
              <a:prstGeom prst="rect">
                <a:avLst/>
              </a:prstGeom>
              <a:solidFill>
                <a:srgbClr val="43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2" name="Rectangle 231"/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2556317"/>
                <a:ext cx="330947" cy="327172"/>
              </a:xfrm>
              <a:prstGeom prst="rect">
                <a:avLst/>
              </a:prstGeom>
              <a:solidFill>
                <a:srgbClr val="684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3" name="Rectangle 232"/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3216953"/>
                <a:ext cx="328431" cy="327172"/>
              </a:xfrm>
              <a:prstGeom prst="rect">
                <a:avLst/>
              </a:prstGeom>
              <a:solidFill>
                <a:srgbClr val="670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4" name="Rectangle 233"/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3549158"/>
                <a:ext cx="328431" cy="327172"/>
              </a:xfrm>
              <a:prstGeom prst="rect">
                <a:avLst/>
              </a:prstGeom>
              <a:solidFill>
                <a:srgbClr val="A77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5" name="Rectangle 234"/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1236304"/>
                <a:ext cx="330947" cy="327172"/>
              </a:xfrm>
              <a:prstGeom prst="rect">
                <a:avLst/>
              </a:prstGeom>
              <a:solidFill>
                <a:srgbClr val="A012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6" name="Rectangle 235"/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1236304"/>
                <a:ext cx="33094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7" name="Freeform 236"/>
              <p:cNvSpPr>
                <a:spLocks/>
              </p:cNvSpPr>
              <p:nvPr userDrawn="1"/>
            </p:nvSpPr>
            <p:spPr bwMode="auto">
              <a:xfrm rot="5400000">
                <a:off x="13712714" y="1564106"/>
                <a:ext cx="329689" cy="327172"/>
              </a:xfrm>
              <a:custGeom>
                <a:avLst/>
                <a:gdLst>
                  <a:gd name="T0" fmla="*/ 262 w 262"/>
                  <a:gd name="T1" fmla="*/ 0 h 260"/>
                  <a:gd name="T2" fmla="*/ 0 w 262"/>
                  <a:gd name="T3" fmla="*/ 0 h 260"/>
                  <a:gd name="T4" fmla="*/ 2 w 262"/>
                  <a:gd name="T5" fmla="*/ 0 h 260"/>
                  <a:gd name="T6" fmla="*/ 2 w 262"/>
                  <a:gd name="T7" fmla="*/ 260 h 260"/>
                  <a:gd name="T8" fmla="*/ 262 w 262"/>
                  <a:gd name="T9" fmla="*/ 260 h 260"/>
                  <a:gd name="T10" fmla="*/ 262 w 262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260">
                    <a:moveTo>
                      <a:pt x="26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60"/>
                    </a:lnTo>
                    <a:lnTo>
                      <a:pt x="262" y="260"/>
                    </a:lnTo>
                    <a:lnTo>
                      <a:pt x="262" y="0"/>
                    </a:lnTo>
                    <a:close/>
                  </a:path>
                </a:pathLst>
              </a:custGeom>
              <a:solidFill>
                <a:srgbClr val="B74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8" name="Freeform 237"/>
              <p:cNvSpPr>
                <a:spLocks/>
              </p:cNvSpPr>
              <p:nvPr userDrawn="1"/>
            </p:nvSpPr>
            <p:spPr bwMode="auto">
              <a:xfrm rot="5400000">
                <a:off x="13712714" y="1564106"/>
                <a:ext cx="329689" cy="327172"/>
              </a:xfrm>
              <a:custGeom>
                <a:avLst/>
                <a:gdLst>
                  <a:gd name="T0" fmla="*/ 262 w 262"/>
                  <a:gd name="T1" fmla="*/ 0 h 260"/>
                  <a:gd name="T2" fmla="*/ 0 w 262"/>
                  <a:gd name="T3" fmla="*/ 0 h 260"/>
                  <a:gd name="T4" fmla="*/ 2 w 262"/>
                  <a:gd name="T5" fmla="*/ 0 h 260"/>
                  <a:gd name="T6" fmla="*/ 2 w 262"/>
                  <a:gd name="T7" fmla="*/ 260 h 260"/>
                  <a:gd name="T8" fmla="*/ 262 w 262"/>
                  <a:gd name="T9" fmla="*/ 260 h 260"/>
                  <a:gd name="T10" fmla="*/ 262 w 262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260">
                    <a:moveTo>
                      <a:pt x="26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60"/>
                    </a:lnTo>
                    <a:lnTo>
                      <a:pt x="262" y="260"/>
                    </a:lnTo>
                    <a:lnTo>
                      <a:pt x="26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9" name="Rectangle 238"/>
              <p:cNvSpPr>
                <a:spLocks noChangeArrowheads="1"/>
              </p:cNvSpPr>
              <p:nvPr userDrawn="1"/>
            </p:nvSpPr>
            <p:spPr bwMode="auto">
              <a:xfrm rot="5400000">
                <a:off x="13876300" y="1400520"/>
                <a:ext cx="2517" cy="327172"/>
              </a:xfrm>
              <a:prstGeom prst="rect">
                <a:avLst/>
              </a:prstGeom>
              <a:solidFill>
                <a:srgbClr val="A012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0" name="Rectangle 239"/>
              <p:cNvSpPr>
                <a:spLocks noChangeArrowheads="1"/>
              </p:cNvSpPr>
              <p:nvPr userDrawn="1"/>
            </p:nvSpPr>
            <p:spPr bwMode="auto">
              <a:xfrm rot="5400000">
                <a:off x="13876300" y="1400520"/>
                <a:ext cx="251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1" name="Rectangle 240"/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1895682"/>
                <a:ext cx="328431" cy="327172"/>
              </a:xfrm>
              <a:prstGeom prst="rect">
                <a:avLst/>
              </a:prstGeom>
              <a:solidFill>
                <a:srgbClr val="CF86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2" name="Rectangle 241"/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1895682"/>
                <a:ext cx="328431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43" name="Rectangle 242"/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2887264"/>
                <a:ext cx="330947" cy="327172"/>
              </a:xfrm>
              <a:prstGeom prst="rect">
                <a:avLst/>
              </a:prstGeom>
              <a:solidFill>
                <a:srgbClr val="947E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96" name="Group 195"/>
            <p:cNvGrpSpPr/>
            <p:nvPr userDrawn="1"/>
          </p:nvGrpSpPr>
          <p:grpSpPr>
            <a:xfrm>
              <a:off x="13908868" y="1234417"/>
              <a:ext cx="328431" cy="2633734"/>
              <a:chOff x="14966034" y="1234417"/>
              <a:chExt cx="328431" cy="2633734"/>
            </a:xfrm>
          </p:grpSpPr>
          <p:sp>
            <p:nvSpPr>
              <p:cNvPr id="223" name="Rectangle 222"/>
              <p:cNvSpPr>
                <a:spLocks noChangeArrowheads="1"/>
              </p:cNvSpPr>
              <p:nvPr userDrawn="1"/>
            </p:nvSpPr>
            <p:spPr bwMode="auto">
              <a:xfrm rot="5400000">
                <a:off x="14965405" y="2221595"/>
                <a:ext cx="329689" cy="328431"/>
              </a:xfrm>
              <a:prstGeom prst="rect">
                <a:avLst/>
              </a:prstGeom>
              <a:solidFill>
                <a:srgbClr val="43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4" name="Rectangle 223"/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2549396"/>
                <a:ext cx="330947" cy="328431"/>
              </a:xfrm>
              <a:prstGeom prst="rect">
                <a:avLst/>
              </a:prstGeom>
              <a:solidFill>
                <a:srgbClr val="684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5" name="Rectangle 224"/>
              <p:cNvSpPr>
                <a:spLocks noChangeArrowheads="1"/>
              </p:cNvSpPr>
              <p:nvPr userDrawn="1"/>
            </p:nvSpPr>
            <p:spPr bwMode="auto">
              <a:xfrm rot="5400000">
                <a:off x="14965405" y="2877198"/>
                <a:ext cx="329689" cy="328431"/>
              </a:xfrm>
              <a:prstGeom prst="rect">
                <a:avLst/>
              </a:prstGeom>
              <a:solidFill>
                <a:srgbClr val="947E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6" name="Rectangle 225"/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3207515"/>
                <a:ext cx="330947" cy="328431"/>
              </a:xfrm>
              <a:prstGeom prst="rect">
                <a:avLst/>
              </a:prstGeom>
              <a:solidFill>
                <a:srgbClr val="B6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7" name="Rectangle 226"/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3538462"/>
                <a:ext cx="330947" cy="328431"/>
              </a:xfrm>
              <a:prstGeom prst="rect">
                <a:avLst/>
              </a:prstGeom>
              <a:solidFill>
                <a:srgbClr val="DDC9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8" name="Rectangle 227"/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1235675"/>
                <a:ext cx="330947" cy="328431"/>
              </a:xfrm>
              <a:prstGeom prst="rect">
                <a:avLst/>
              </a:prstGeom>
              <a:solidFill>
                <a:srgbClr val="CF74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9" name="Rectangle 228"/>
              <p:cNvSpPr>
                <a:spLocks noChangeArrowheads="1"/>
              </p:cNvSpPr>
              <p:nvPr userDrawn="1"/>
            </p:nvSpPr>
            <p:spPr bwMode="auto">
              <a:xfrm rot="5400000">
                <a:off x="14965405" y="1560960"/>
                <a:ext cx="329689" cy="328431"/>
              </a:xfrm>
              <a:prstGeom prst="rect">
                <a:avLst/>
              </a:prstGeom>
              <a:solidFill>
                <a:srgbClr val="DB96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30" name="Rectangle 229"/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1891278"/>
                <a:ext cx="330947" cy="328431"/>
              </a:xfrm>
              <a:prstGeom prst="rect">
                <a:avLst/>
              </a:prstGeom>
              <a:solidFill>
                <a:srgbClr val="E8BA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97" name="Group 196"/>
            <p:cNvGrpSpPr/>
            <p:nvPr userDrawn="1"/>
          </p:nvGrpSpPr>
          <p:grpSpPr>
            <a:xfrm>
              <a:off x="12273883" y="1234417"/>
              <a:ext cx="328431" cy="2634993"/>
              <a:chOff x="12469460" y="1234417"/>
              <a:chExt cx="328431" cy="2634993"/>
            </a:xfrm>
          </p:grpSpPr>
          <p:sp>
            <p:nvSpPr>
              <p:cNvPr id="213" name="Rectangle 212"/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1235675"/>
                <a:ext cx="330947" cy="328431"/>
              </a:xfrm>
              <a:prstGeom prst="rect">
                <a:avLst/>
              </a:prstGeom>
              <a:solidFill>
                <a:srgbClr val="B6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4" name="Rectangle 213"/>
              <p:cNvSpPr>
                <a:spLocks noChangeArrowheads="1"/>
              </p:cNvSpPr>
              <p:nvPr userDrawn="1"/>
            </p:nvSpPr>
            <p:spPr bwMode="auto">
              <a:xfrm rot="5400000">
                <a:off x="12468831" y="2225371"/>
                <a:ext cx="329689" cy="328431"/>
              </a:xfrm>
              <a:prstGeom prst="rect">
                <a:avLst/>
              </a:prstGeom>
              <a:solidFill>
                <a:srgbClr val="670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5" name="Rectangle 214"/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1565364"/>
                <a:ext cx="330947" cy="328431"/>
              </a:xfrm>
              <a:prstGeom prst="rect">
                <a:avLst/>
              </a:prstGeom>
              <a:solidFill>
                <a:srgbClr val="CAB0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6" name="Rectangle 215"/>
              <p:cNvSpPr>
                <a:spLocks noChangeArrowheads="1"/>
              </p:cNvSpPr>
              <p:nvPr userDrawn="1"/>
            </p:nvSpPr>
            <p:spPr bwMode="auto">
              <a:xfrm rot="5400000">
                <a:off x="12468831" y="1895682"/>
                <a:ext cx="329689" cy="328431"/>
              </a:xfrm>
              <a:prstGeom prst="rect">
                <a:avLst/>
              </a:prstGeom>
              <a:solidFill>
                <a:srgbClr val="DDC9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7" name="Rectangle 216"/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2554429"/>
                <a:ext cx="330947" cy="328431"/>
              </a:xfrm>
              <a:prstGeom prst="rect">
                <a:avLst/>
              </a:prstGeom>
              <a:solidFill>
                <a:srgbClr val="8445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 userDrawn="1"/>
            </p:nvSpPr>
            <p:spPr bwMode="auto">
              <a:xfrm rot="5400000">
                <a:off x="12468831" y="2882231"/>
                <a:ext cx="329689" cy="328431"/>
              </a:xfrm>
              <a:prstGeom prst="rect">
                <a:avLst/>
              </a:prstGeom>
              <a:solidFill>
                <a:srgbClr val="A77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9" name="Rectangle 218"/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3208773"/>
                <a:ext cx="330947" cy="328431"/>
              </a:xfrm>
              <a:prstGeom prst="rect">
                <a:avLst/>
              </a:prstGeom>
              <a:solidFill>
                <a:srgbClr val="003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0" name="Rectangle 219"/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3208773"/>
                <a:ext cx="330947" cy="328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1" name="Freeform 220"/>
              <p:cNvSpPr>
                <a:spLocks/>
              </p:cNvSpPr>
              <p:nvPr userDrawn="1"/>
            </p:nvSpPr>
            <p:spPr bwMode="auto">
              <a:xfrm rot="5400000">
                <a:off x="12468202" y="3539721"/>
                <a:ext cx="330947" cy="328431"/>
              </a:xfrm>
              <a:custGeom>
                <a:avLst/>
                <a:gdLst>
                  <a:gd name="T0" fmla="*/ 263 w 263"/>
                  <a:gd name="T1" fmla="*/ 0 h 261"/>
                  <a:gd name="T2" fmla="*/ 0 w 263"/>
                  <a:gd name="T3" fmla="*/ 0 h 261"/>
                  <a:gd name="T4" fmla="*/ 0 w 263"/>
                  <a:gd name="T5" fmla="*/ 0 h 261"/>
                  <a:gd name="T6" fmla="*/ 0 w 263"/>
                  <a:gd name="T7" fmla="*/ 261 h 261"/>
                  <a:gd name="T8" fmla="*/ 263 w 263"/>
                  <a:gd name="T9" fmla="*/ 261 h 261"/>
                  <a:gd name="T10" fmla="*/ 263 w 263"/>
                  <a:gd name="T11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1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1"/>
                    </a:lnTo>
                    <a:lnTo>
                      <a:pt x="263" y="261"/>
                    </a:lnTo>
                    <a:lnTo>
                      <a:pt x="263" y="0"/>
                    </a:lnTo>
                    <a:close/>
                  </a:path>
                </a:pathLst>
              </a:custGeom>
              <a:solidFill>
                <a:srgbClr val="758C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22" name="Freeform 221"/>
              <p:cNvSpPr>
                <a:spLocks/>
              </p:cNvSpPr>
              <p:nvPr userDrawn="1"/>
            </p:nvSpPr>
            <p:spPr bwMode="auto">
              <a:xfrm rot="5400000">
                <a:off x="12468202" y="3539721"/>
                <a:ext cx="330947" cy="328431"/>
              </a:xfrm>
              <a:custGeom>
                <a:avLst/>
                <a:gdLst>
                  <a:gd name="T0" fmla="*/ 263 w 263"/>
                  <a:gd name="T1" fmla="*/ 0 h 261"/>
                  <a:gd name="T2" fmla="*/ 0 w 263"/>
                  <a:gd name="T3" fmla="*/ 0 h 261"/>
                  <a:gd name="T4" fmla="*/ 0 w 263"/>
                  <a:gd name="T5" fmla="*/ 0 h 261"/>
                  <a:gd name="T6" fmla="*/ 0 w 263"/>
                  <a:gd name="T7" fmla="*/ 261 h 261"/>
                  <a:gd name="T8" fmla="*/ 263 w 263"/>
                  <a:gd name="T9" fmla="*/ 261 h 261"/>
                  <a:gd name="T10" fmla="*/ 263 w 263"/>
                  <a:gd name="T11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1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1"/>
                    </a:lnTo>
                    <a:lnTo>
                      <a:pt x="263" y="261"/>
                    </a:lnTo>
                    <a:lnTo>
                      <a:pt x="26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98" name="Group 197"/>
            <p:cNvGrpSpPr/>
            <p:nvPr userDrawn="1"/>
          </p:nvGrpSpPr>
          <p:grpSpPr>
            <a:xfrm>
              <a:off x="11862935" y="1234417"/>
              <a:ext cx="329689" cy="2640026"/>
              <a:chOff x="11862935" y="1234417"/>
              <a:chExt cx="329689" cy="2640026"/>
            </a:xfrm>
          </p:grpSpPr>
          <p:sp>
            <p:nvSpPr>
              <p:cNvPr id="199" name="Rectangle 198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3214436"/>
                <a:ext cx="330947" cy="329689"/>
              </a:xfrm>
              <a:prstGeom prst="rect">
                <a:avLst/>
              </a:prstGeom>
              <a:solidFill>
                <a:srgbClr val="670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0" name="Rectangle 199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3214436"/>
                <a:ext cx="330947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1" name="Rectangle 200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3544125"/>
                <a:ext cx="330947" cy="329689"/>
              </a:xfrm>
              <a:prstGeom prst="rect">
                <a:avLst/>
              </a:prstGeom>
              <a:solidFill>
                <a:srgbClr val="A77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2" name="Rectangle 201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224112"/>
                <a:ext cx="330947" cy="329689"/>
              </a:xfrm>
              <a:prstGeom prst="rect">
                <a:avLst/>
              </a:prstGeom>
              <a:solidFill>
                <a:srgbClr val="A012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3" name="Rectangle 202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224112"/>
                <a:ext cx="330947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4" name="Rectangle 203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555059"/>
                <a:ext cx="330947" cy="329689"/>
              </a:xfrm>
              <a:prstGeom prst="rect">
                <a:avLst/>
              </a:prstGeom>
              <a:solidFill>
                <a:srgbClr val="B74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5" name="Rectangle 204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555059"/>
                <a:ext cx="330947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6" name="Freeform 205"/>
              <p:cNvSpPr>
                <a:spLocks/>
              </p:cNvSpPr>
              <p:nvPr userDrawn="1"/>
            </p:nvSpPr>
            <p:spPr bwMode="auto">
              <a:xfrm rot="5400000">
                <a:off x="11863564" y="2884748"/>
                <a:ext cx="328431" cy="329689"/>
              </a:xfrm>
              <a:custGeom>
                <a:avLst/>
                <a:gdLst>
                  <a:gd name="T0" fmla="*/ 261 w 261"/>
                  <a:gd name="T1" fmla="*/ 0 h 262"/>
                  <a:gd name="T2" fmla="*/ 0 w 261"/>
                  <a:gd name="T3" fmla="*/ 0 h 262"/>
                  <a:gd name="T4" fmla="*/ 0 w 261"/>
                  <a:gd name="T5" fmla="*/ 262 h 262"/>
                  <a:gd name="T6" fmla="*/ 261 w 261"/>
                  <a:gd name="T7" fmla="*/ 262 h 262"/>
                  <a:gd name="T8" fmla="*/ 261 w 261"/>
                  <a:gd name="T9" fmla="*/ 0 h 262"/>
                  <a:gd name="T10" fmla="*/ 261 w 261"/>
                  <a:gd name="T11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2">
                    <a:moveTo>
                      <a:pt x="261" y="0"/>
                    </a:moveTo>
                    <a:lnTo>
                      <a:pt x="0" y="0"/>
                    </a:lnTo>
                    <a:lnTo>
                      <a:pt x="0" y="262"/>
                    </a:lnTo>
                    <a:lnTo>
                      <a:pt x="261" y="262"/>
                    </a:lnTo>
                    <a:lnTo>
                      <a:pt x="261" y="0"/>
                    </a:lnTo>
                    <a:lnTo>
                      <a:pt x="261" y="0"/>
                    </a:lnTo>
                    <a:close/>
                  </a:path>
                </a:pathLst>
              </a:custGeom>
              <a:solidFill>
                <a:srgbClr val="CF86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7" name="Freeform 206"/>
              <p:cNvSpPr>
                <a:spLocks/>
              </p:cNvSpPr>
              <p:nvPr userDrawn="1"/>
            </p:nvSpPr>
            <p:spPr bwMode="auto">
              <a:xfrm rot="5400000">
                <a:off x="11863564" y="2884748"/>
                <a:ext cx="328431" cy="329689"/>
              </a:xfrm>
              <a:custGeom>
                <a:avLst/>
                <a:gdLst>
                  <a:gd name="T0" fmla="*/ 261 w 261"/>
                  <a:gd name="T1" fmla="*/ 0 h 262"/>
                  <a:gd name="T2" fmla="*/ 0 w 261"/>
                  <a:gd name="T3" fmla="*/ 0 h 262"/>
                  <a:gd name="T4" fmla="*/ 0 w 261"/>
                  <a:gd name="T5" fmla="*/ 262 h 262"/>
                  <a:gd name="T6" fmla="*/ 261 w 261"/>
                  <a:gd name="T7" fmla="*/ 262 h 262"/>
                  <a:gd name="T8" fmla="*/ 261 w 261"/>
                  <a:gd name="T9" fmla="*/ 0 h 262"/>
                  <a:gd name="T10" fmla="*/ 261 w 261"/>
                  <a:gd name="T11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2">
                    <a:moveTo>
                      <a:pt x="261" y="0"/>
                    </a:moveTo>
                    <a:lnTo>
                      <a:pt x="0" y="0"/>
                    </a:lnTo>
                    <a:lnTo>
                      <a:pt x="0" y="262"/>
                    </a:lnTo>
                    <a:lnTo>
                      <a:pt x="261" y="262"/>
                    </a:lnTo>
                    <a:lnTo>
                      <a:pt x="261" y="0"/>
                    </a:lnTo>
                    <a:lnTo>
                      <a:pt x="2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8" name="Rectangle 207"/>
              <p:cNvSpPr>
                <a:spLocks noChangeArrowheads="1"/>
              </p:cNvSpPr>
              <p:nvPr userDrawn="1"/>
            </p:nvSpPr>
            <p:spPr bwMode="auto">
              <a:xfrm rot="5400000">
                <a:off x="12027150" y="3049592"/>
                <a:ext cx="1259" cy="329689"/>
              </a:xfrm>
              <a:prstGeom prst="rect">
                <a:avLst/>
              </a:prstGeom>
              <a:solidFill>
                <a:srgbClr val="8412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09" name="Rectangle 208"/>
              <p:cNvSpPr>
                <a:spLocks noChangeArrowheads="1"/>
              </p:cNvSpPr>
              <p:nvPr userDrawn="1"/>
            </p:nvSpPr>
            <p:spPr bwMode="auto">
              <a:xfrm rot="5400000">
                <a:off x="12027150" y="3049592"/>
                <a:ext cx="1259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0" name="Rectangle 209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1235046"/>
                <a:ext cx="330947" cy="329689"/>
              </a:xfrm>
              <a:prstGeom prst="rect">
                <a:avLst/>
              </a:prstGeom>
              <a:solidFill>
                <a:srgbClr val="0058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1564735"/>
                <a:ext cx="330947" cy="329689"/>
              </a:xfrm>
              <a:prstGeom prst="rect">
                <a:avLst/>
              </a:prstGeom>
              <a:solidFill>
                <a:srgbClr val="287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 userDrawn="1"/>
            </p:nvSpPr>
            <p:spPr bwMode="auto">
              <a:xfrm rot="5400000">
                <a:off x="11863564" y="1894424"/>
                <a:ext cx="328431" cy="329689"/>
              </a:xfrm>
              <a:prstGeom prst="rect">
                <a:avLst/>
              </a:prstGeom>
              <a:solidFill>
                <a:srgbClr val="77A0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</p:grpSp>
      <p:sp>
        <p:nvSpPr>
          <p:cNvPr id="114" name="Rectangle 113"/>
          <p:cNvSpPr/>
          <p:nvPr/>
        </p:nvSpPr>
        <p:spPr>
          <a:xfrm>
            <a:off x="12346517" y="3205412"/>
            <a:ext cx="540000" cy="540000"/>
          </a:xfrm>
          <a:prstGeom prst="rect">
            <a:avLst/>
          </a:prstGeom>
          <a:solidFill>
            <a:srgbClr val="520D8E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n-lt"/>
              </a:rPr>
              <a:t>82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n-lt"/>
              </a:rPr>
              <a:t>13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n-lt"/>
              </a:rPr>
              <a:t>142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12999045" y="3205411"/>
            <a:ext cx="540000" cy="540000"/>
          </a:xfrm>
          <a:prstGeom prst="rect">
            <a:avLst/>
          </a:prstGeom>
          <a:solidFill>
            <a:srgbClr val="350065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53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0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101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13111573" y="5840154"/>
            <a:ext cx="540000" cy="54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300904" y="2897856"/>
            <a:ext cx="288575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err="1"/>
              <a:t>Mitrais</a:t>
            </a:r>
            <a:r>
              <a:rPr lang="en-AU" sz="1050"/>
              <a:t> Colour Palette (from website):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12338393" y="5840154"/>
            <a:ext cx="540000" cy="54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A59B9FD-2382-4830-A818-BF789E85C417}"/>
              </a:ext>
            </a:extLst>
          </p:cNvPr>
          <p:cNvSpPr txBox="1"/>
          <p:nvPr/>
        </p:nvSpPr>
        <p:spPr>
          <a:xfrm>
            <a:off x="12346517" y="3745411"/>
            <a:ext cx="540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Title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A78F3E5-33D0-4BD6-A15D-209A606B3479}"/>
              </a:ext>
            </a:extLst>
          </p:cNvPr>
          <p:cNvSpPr txBox="1"/>
          <p:nvPr/>
        </p:nvSpPr>
        <p:spPr>
          <a:xfrm>
            <a:off x="12999045" y="3745411"/>
            <a:ext cx="540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Dark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D0A4F312-60BD-430D-90E5-6D0053B310C5}"/>
              </a:ext>
            </a:extLst>
          </p:cNvPr>
          <p:cNvSpPr/>
          <p:nvPr/>
        </p:nvSpPr>
        <p:spPr>
          <a:xfrm>
            <a:off x="13651573" y="3208586"/>
            <a:ext cx="540000" cy="540000"/>
          </a:xfrm>
          <a:prstGeom prst="rect">
            <a:avLst/>
          </a:prstGeom>
          <a:solidFill>
            <a:srgbClr val="C1BAC8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FFD72718-5FA1-4B2F-A5D7-45CA11C1370A}"/>
              </a:ext>
            </a:extLst>
          </p:cNvPr>
          <p:cNvSpPr txBox="1"/>
          <p:nvPr/>
        </p:nvSpPr>
        <p:spPr>
          <a:xfrm>
            <a:off x="13651573" y="3748586"/>
            <a:ext cx="540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Light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0653933-0277-480E-AA03-16A4A4AAB177}"/>
              </a:ext>
            </a:extLst>
          </p:cNvPr>
          <p:cNvSpPr/>
          <p:nvPr/>
        </p:nvSpPr>
        <p:spPr>
          <a:xfrm>
            <a:off x="12346517" y="4001265"/>
            <a:ext cx="540000" cy="540000"/>
          </a:xfrm>
          <a:prstGeom prst="rect">
            <a:avLst/>
          </a:prstGeom>
          <a:solidFill>
            <a:srgbClr val="6200C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98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0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192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BBFF4E7C-B67E-49A4-B40B-B9E1B064AEA4}"/>
              </a:ext>
            </a:extLst>
          </p:cNvPr>
          <p:cNvSpPr/>
          <p:nvPr/>
        </p:nvSpPr>
        <p:spPr>
          <a:xfrm>
            <a:off x="12999917" y="4001265"/>
            <a:ext cx="540000" cy="540000"/>
          </a:xfrm>
          <a:prstGeom prst="rect">
            <a:avLst/>
          </a:prstGeom>
          <a:solidFill>
            <a:srgbClr val="AF45F9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175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69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249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8B88FAC-D339-4765-A5DC-321A73945360}"/>
              </a:ext>
            </a:extLst>
          </p:cNvPr>
          <p:cNvSpPr txBox="1"/>
          <p:nvPr/>
        </p:nvSpPr>
        <p:spPr>
          <a:xfrm>
            <a:off x="12212995" y="4546854"/>
            <a:ext cx="807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Shape 1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9082F142-603B-46BF-AE6F-EAB8A44EF748}"/>
              </a:ext>
            </a:extLst>
          </p:cNvPr>
          <p:cNvSpPr/>
          <p:nvPr/>
        </p:nvSpPr>
        <p:spPr>
          <a:xfrm>
            <a:off x="12343564" y="484122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3A18DE1-721B-47EA-B0FC-7BD351B13B5C}"/>
              </a:ext>
            </a:extLst>
          </p:cNvPr>
          <p:cNvSpPr txBox="1"/>
          <p:nvPr/>
        </p:nvSpPr>
        <p:spPr>
          <a:xfrm>
            <a:off x="12852650" y="4546853"/>
            <a:ext cx="807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Shape 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97A5C2-FBE0-4D32-8994-1263C5444A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181" y="1129123"/>
            <a:ext cx="10951156" cy="5217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FA578D1-57A6-4429-BB47-9F94E4C00CA5}"/>
              </a:ext>
            </a:extLst>
          </p:cNvPr>
          <p:cNvSpPr txBox="1"/>
          <p:nvPr/>
        </p:nvSpPr>
        <p:spPr>
          <a:xfrm>
            <a:off x="12346515" y="5379855"/>
            <a:ext cx="5400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BG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222A695-9B72-4E81-A52A-A4A571E28B65}"/>
              </a:ext>
            </a:extLst>
          </p:cNvPr>
          <p:cNvSpPr/>
          <p:nvPr/>
        </p:nvSpPr>
        <p:spPr>
          <a:xfrm>
            <a:off x="12996224" y="4841221"/>
            <a:ext cx="540000" cy="54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GB" sz="900">
                <a:solidFill>
                  <a:schemeClr val="bg1"/>
                </a:solidFill>
                <a:latin typeface="+mn-lt"/>
              </a:rPr>
              <a:t>3/4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C82D9CA7-1F91-4639-8D34-6FB4A3500482}"/>
              </a:ext>
            </a:extLst>
          </p:cNvPr>
          <p:cNvSpPr txBox="1"/>
          <p:nvPr/>
        </p:nvSpPr>
        <p:spPr>
          <a:xfrm>
            <a:off x="12993273" y="5379855"/>
            <a:ext cx="5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Frame</a:t>
            </a:r>
          </a:p>
        </p:txBody>
      </p:sp>
      <p:sp>
        <p:nvSpPr>
          <p:cNvPr id="1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5966" y="6566635"/>
            <a:ext cx="407384" cy="216000"/>
          </a:xfrm>
          <a:prstGeom prst="rect">
            <a:avLst/>
          </a:prstGeom>
        </p:spPr>
        <p:txBody>
          <a:bodyPr vert="horz" lIns="87265" tIns="43633" rIns="0" bIns="43633" rtlCol="0" anchor="ctr"/>
          <a:lstStyle>
            <a:lvl1pPr algn="r">
              <a:defRPr sz="800">
                <a:solidFill>
                  <a:schemeClr val="tx1"/>
                </a:solidFill>
                <a:latin typeface="Inter Medium" panose="020B0502030000000004" charset="0"/>
                <a:ea typeface="Inter Medium" panose="020B0502030000000004" charset="0"/>
                <a:cs typeface="Inter Medium" panose="020B0502030000000004" charset="0"/>
                <a:sym typeface="Verdana" panose="020B0604030504040204" pitchFamily="34" charset="0"/>
              </a:defRPr>
            </a:lvl1pPr>
          </a:lstStyle>
          <a:p>
            <a:fld id="{BC6C3981-34AD-43FE-8C90-6C64CEB1840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3" name="TextBox 132"/>
          <p:cNvSpPr txBox="1"/>
          <p:nvPr/>
        </p:nvSpPr>
        <p:spPr>
          <a:xfrm>
            <a:off x="618067" y="6547098"/>
            <a:ext cx="1080104" cy="21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/>
            <a:r>
              <a:rPr lang="en-GB" sz="800">
                <a:solidFill>
                  <a:schemeClr val="tx1"/>
                </a:solidFill>
                <a:latin typeface="Inter Medium" panose="020B0502030000000004" charset="0"/>
                <a:ea typeface="Inter Medium" panose="020B0502030000000004" charset="0"/>
                <a:cs typeface="Verdana" panose="020B0604030504040204" pitchFamily="34" charset="0"/>
                <a:sym typeface="Verdana" panose="020B0604030504040204" pitchFamily="34" charset="0"/>
              </a:rPr>
              <a:t>www.mitrais.co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7356" y="6562693"/>
            <a:ext cx="3305992" cy="21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GB" sz="800" baseline="0">
                <a:solidFill>
                  <a:schemeClr val="tx1"/>
                </a:solidFill>
                <a:latin typeface="Inter Medium" panose="020B0502030000000004" charset="0"/>
                <a:ea typeface="Inter Medium" panose="020B0502030000000004" charset="0"/>
                <a:cs typeface="Verdana" panose="020B0604030504040204" pitchFamily="34" charset="0"/>
                <a:sym typeface="Verdana" panose="020B0604030504040204" pitchFamily="34" charset="0"/>
              </a:rPr>
              <a:t>Strictly Private and Confidential</a:t>
            </a:r>
          </a:p>
        </p:txBody>
      </p:sp>
      <p:graphicFrame>
        <p:nvGraphicFramePr>
          <p:cNvPr id="134" name="Object 133" hidden="1">
            <a:extLst>
              <a:ext uri="{FF2B5EF4-FFF2-40B4-BE49-F238E27FC236}">
                <a16:creationId xmlns:a16="http://schemas.microsoft.com/office/drawing/2014/main" id="{408500CC-19E2-4D76-84BA-0EF211F05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16" imgH="216" progId="TCLayout.ActiveDocument.1">
                  <p:embed/>
                </p:oleObj>
              </mc:Choice>
              <mc:Fallback>
                <p:oleObj name="think-cell Slide" r:id="rId27" imgW="216" imgH="216" progId="TCLayout.ActiveDocument.1">
                  <p:embed/>
                  <p:pic>
                    <p:nvPicPr>
                      <p:cNvPr id="134" name="Object 133" hidden="1">
                        <a:extLst>
                          <a:ext uri="{FF2B5EF4-FFF2-40B4-BE49-F238E27FC236}">
                            <a16:creationId xmlns:a16="http://schemas.microsoft.com/office/drawing/2014/main" id="{408500CC-19E2-4D76-84BA-0EF211F05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Rectangle 13">
            <a:extLst>
              <a:ext uri="{FF2B5EF4-FFF2-40B4-BE49-F238E27FC236}">
                <a16:creationId xmlns:a16="http://schemas.microsoft.com/office/drawing/2014/main" id="{A6B0E67E-4DDB-4703-A967-3D3AFDA97A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481559" y="6418547"/>
            <a:ext cx="132082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7" name="Line 14">
            <a:extLst>
              <a:ext uri="{FF2B5EF4-FFF2-40B4-BE49-F238E27FC236}">
                <a16:creationId xmlns:a16="http://schemas.microsoft.com/office/drawing/2014/main" id="{39FC5F7B-C476-405E-B974-343EA635ECC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142876" y="6375889"/>
            <a:ext cx="0" cy="49889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9" name="Line 18">
            <a:extLst>
              <a:ext uri="{FF2B5EF4-FFF2-40B4-BE49-F238E27FC236}">
                <a16:creationId xmlns:a16="http://schemas.microsoft.com/office/drawing/2014/main" id="{B86B3A9C-2252-43C5-AE4B-1E076340BC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133351" y="-1"/>
            <a:ext cx="0" cy="97450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0" name="Rectangle 19">
            <a:extLst>
              <a:ext uri="{FF2B5EF4-FFF2-40B4-BE49-F238E27FC236}">
                <a16:creationId xmlns:a16="http://schemas.microsoft.com/office/drawing/2014/main" id="{CC216DD5-C20C-4EE8-A52F-5E491E047C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143536" y="3573016"/>
            <a:ext cx="98279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IN CONTENT</a:t>
            </a:r>
            <a:b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</a:br>
            <a:r>
              <a:rPr kumimoji="0" lang="en-GB" sz="10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REA</a:t>
            </a:r>
          </a:p>
        </p:txBody>
      </p:sp>
      <p:sp>
        <p:nvSpPr>
          <p:cNvPr id="141" name="Line 20">
            <a:extLst>
              <a:ext uri="{FF2B5EF4-FFF2-40B4-BE49-F238E27FC236}">
                <a16:creationId xmlns:a16="http://schemas.microsoft.com/office/drawing/2014/main" id="{C9153DEE-C41A-427D-9FA1-1A294CF74EE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142876" y="1130753"/>
            <a:ext cx="0" cy="523036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2" name="Line 24">
            <a:extLst>
              <a:ext uri="{FF2B5EF4-FFF2-40B4-BE49-F238E27FC236}">
                <a16:creationId xmlns:a16="http://schemas.microsoft.com/office/drawing/2014/main" id="{0D410FFD-0247-4AEA-B0CF-FAD5A7543EF9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573932" y="7029400"/>
            <a:ext cx="618067" cy="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3" name="Rectangle 25">
            <a:extLst>
              <a:ext uri="{FF2B5EF4-FFF2-40B4-BE49-F238E27FC236}">
                <a16:creationId xmlns:a16="http://schemas.microsoft.com/office/drawing/2014/main" id="{0EB2DD35-DBFD-4BC7-A0F2-61E1A154A8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44693" y="7029712"/>
            <a:ext cx="8889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4" name="Line 26">
            <a:extLst>
              <a:ext uri="{FF2B5EF4-FFF2-40B4-BE49-F238E27FC236}">
                <a16:creationId xmlns:a16="http://schemas.microsoft.com/office/drawing/2014/main" id="{9E8A1056-2382-4968-A8B0-74CA489D5FA2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0" y="7029400"/>
            <a:ext cx="618067" cy="0"/>
          </a:xfrm>
          <a:prstGeom prst="lin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  <a:effectLst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8710BD7F-FC60-4989-86CA-ABF47AC19E5F}"/>
              </a:ext>
            </a:extLst>
          </p:cNvPr>
          <p:cNvGrpSpPr/>
          <p:nvPr userDrawn="1"/>
        </p:nvGrpSpPr>
        <p:grpSpPr>
          <a:xfrm>
            <a:off x="-673430" y="1130753"/>
            <a:ext cx="624747" cy="5230360"/>
            <a:chOff x="-673430" y="1130753"/>
            <a:chExt cx="624747" cy="5230360"/>
          </a:xfrm>
        </p:grpSpPr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92F04F7B-F09E-4B54-BFBD-2E9871B9D279}"/>
                </a:ext>
              </a:extLst>
            </p:cNvPr>
            <p:cNvCxnSpPr/>
            <p:nvPr userDrawn="1"/>
          </p:nvCxnSpPr>
          <p:spPr>
            <a:xfrm>
              <a:off x="-673430" y="6361113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CAEB721C-56B2-4068-9DBE-13B8441100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673430" y="1130753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2E82101-C773-40E1-A898-58848D402461}"/>
              </a:ext>
            </a:extLst>
          </p:cNvPr>
          <p:cNvGrpSpPr/>
          <p:nvPr userDrawn="1"/>
        </p:nvGrpSpPr>
        <p:grpSpPr>
          <a:xfrm>
            <a:off x="-673430" y="-1"/>
            <a:ext cx="624747" cy="974500"/>
            <a:chOff x="-673430" y="0"/>
            <a:chExt cx="624747" cy="974500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A0FB8F2B-6E4F-49DD-9C21-47DCD9DD8577}"/>
                </a:ext>
              </a:extLst>
            </p:cNvPr>
            <p:cNvCxnSpPr/>
            <p:nvPr userDrawn="1"/>
          </p:nvCxnSpPr>
          <p:spPr>
            <a:xfrm>
              <a:off x="-673430" y="974500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E5AF22C3-2B33-4E12-8F3A-16856BE1EEC0}"/>
                </a:ext>
              </a:extLst>
            </p:cNvPr>
            <p:cNvCxnSpPr/>
            <p:nvPr userDrawn="1"/>
          </p:nvCxnSpPr>
          <p:spPr>
            <a:xfrm>
              <a:off x="-673430" y="0"/>
              <a:ext cx="624747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2C87C3F4-DD29-4D74-8735-028A5DC92B38}"/>
              </a:ext>
            </a:extLst>
          </p:cNvPr>
          <p:cNvCxnSpPr/>
          <p:nvPr userDrawn="1"/>
        </p:nvCxnSpPr>
        <p:spPr>
          <a:xfrm>
            <a:off x="-673430" y="6858000"/>
            <a:ext cx="624747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BD4EEA2-F97B-44E5-820B-E6C1C5C245D0}"/>
              </a:ext>
            </a:extLst>
          </p:cNvPr>
          <p:cNvCxnSpPr/>
          <p:nvPr userDrawn="1"/>
        </p:nvCxnSpPr>
        <p:spPr>
          <a:xfrm rot="5400000" flipH="1" flipV="1">
            <a:off x="-180020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022C8EF-9D74-4039-B834-38E7698C165C}"/>
              </a:ext>
            </a:extLst>
          </p:cNvPr>
          <p:cNvCxnSpPr/>
          <p:nvPr userDrawn="1"/>
        </p:nvCxnSpPr>
        <p:spPr>
          <a:xfrm rot="5400000" flipH="1" flipV="1">
            <a:off x="11393913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069984AA-F222-41C2-9F8E-9A21B68A93F0}"/>
              </a:ext>
            </a:extLst>
          </p:cNvPr>
          <p:cNvCxnSpPr/>
          <p:nvPr userDrawn="1"/>
        </p:nvCxnSpPr>
        <p:spPr>
          <a:xfrm rot="5400000" flipH="1" flipV="1">
            <a:off x="12011980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4101EB04-A684-4185-9E6A-3A7D1026402B}"/>
              </a:ext>
            </a:extLst>
          </p:cNvPr>
          <p:cNvCxnSpPr/>
          <p:nvPr userDrawn="1"/>
        </p:nvCxnSpPr>
        <p:spPr>
          <a:xfrm rot="5400000" flipH="1" flipV="1">
            <a:off x="438047" y="7065404"/>
            <a:ext cx="360040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25">
            <a:extLst>
              <a:ext uri="{FF2B5EF4-FFF2-40B4-BE49-F238E27FC236}">
                <a16:creationId xmlns:a16="http://schemas.microsoft.com/office/drawing/2014/main" id="{FC1B21B9-1CDE-44C5-8ED9-EBEA2706A02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38508" y="7029712"/>
            <a:ext cx="8889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NE CONTENT AREA</a:t>
            </a: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0F3B2018-6EA2-4142-95BE-87681E8BA257}"/>
              </a:ext>
            </a:extLst>
          </p:cNvPr>
          <p:cNvGrpSpPr/>
          <p:nvPr userDrawn="1"/>
        </p:nvGrpSpPr>
        <p:grpSpPr>
          <a:xfrm>
            <a:off x="12346517" y="96366"/>
            <a:ext cx="2374364" cy="2642543"/>
            <a:chOff x="11862935" y="1234416"/>
            <a:chExt cx="2374364" cy="2642543"/>
          </a:xfrm>
        </p:grpSpPr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1179411E-453C-4F2F-BA06-F5707EFBC083}"/>
                </a:ext>
              </a:extLst>
            </p:cNvPr>
            <p:cNvGrpSpPr/>
            <p:nvPr userDrawn="1"/>
          </p:nvGrpSpPr>
          <p:grpSpPr>
            <a:xfrm>
              <a:off x="13500435" y="1234416"/>
              <a:ext cx="327172" cy="2637509"/>
              <a:chOff x="14335600" y="1234416"/>
              <a:chExt cx="327172" cy="2637509"/>
            </a:xfrm>
          </p:grpSpPr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615ECF80-E6C7-4D7F-8F94-C5DC3B92731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2225370"/>
                <a:ext cx="330947" cy="327172"/>
              </a:xfrm>
              <a:prstGeom prst="rect">
                <a:avLst/>
              </a:prstGeom>
              <a:solidFill>
                <a:srgbClr val="0058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DB32C822-D507-4C6F-B7B4-2548FF397CE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2225370"/>
                <a:ext cx="33094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4CD438C3-1D10-46B8-8ED4-23181090DC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2555058"/>
                <a:ext cx="330947" cy="327172"/>
              </a:xfrm>
              <a:prstGeom prst="rect">
                <a:avLst/>
              </a:prstGeom>
              <a:solidFill>
                <a:srgbClr val="287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DDF1D09A-511E-49AF-9D28-273219E0C37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4970" y="2884748"/>
                <a:ext cx="328431" cy="327172"/>
              </a:xfrm>
              <a:prstGeom prst="rect">
                <a:avLst/>
              </a:prstGeom>
              <a:solidFill>
                <a:srgbClr val="77A0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4" name="Rectangle 303">
                <a:extLst>
                  <a:ext uri="{FF2B5EF4-FFF2-40B4-BE49-F238E27FC236}">
                    <a16:creationId xmlns:a16="http://schemas.microsoft.com/office/drawing/2014/main" id="{B4896D12-0C19-4FA0-BA30-DA780EF32BE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1236304"/>
                <a:ext cx="330947" cy="327172"/>
              </a:xfrm>
              <a:prstGeom prst="rect">
                <a:avLst/>
              </a:prstGeom>
              <a:solidFill>
                <a:srgbClr val="003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5" name="Rectangle 304">
                <a:extLst>
                  <a:ext uri="{FF2B5EF4-FFF2-40B4-BE49-F238E27FC236}">
                    <a16:creationId xmlns:a16="http://schemas.microsoft.com/office/drawing/2014/main" id="{4146E728-0284-4505-A0D9-936F900DC5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1565993"/>
                <a:ext cx="330947" cy="327172"/>
              </a:xfrm>
              <a:prstGeom prst="rect">
                <a:avLst/>
              </a:prstGeom>
              <a:solidFill>
                <a:srgbClr val="3C6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6" name="Rectangle 305">
                <a:extLst>
                  <a:ext uri="{FF2B5EF4-FFF2-40B4-BE49-F238E27FC236}">
                    <a16:creationId xmlns:a16="http://schemas.microsoft.com/office/drawing/2014/main" id="{BFDDBEC9-D7AF-4075-93BD-A19AF2B426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1565993"/>
                <a:ext cx="33094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72C5E53F-3A2C-4047-8562-FF545447E5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4334970" y="1895682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260 h 260"/>
                  <a:gd name="T6" fmla="*/ 261 w 261"/>
                  <a:gd name="T7" fmla="*/ 260 h 260"/>
                  <a:gd name="T8" fmla="*/ 261 w 261"/>
                  <a:gd name="T9" fmla="*/ 0 h 260"/>
                  <a:gd name="T10" fmla="*/ 261 w 261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0"/>
                    </a:lnTo>
                    <a:lnTo>
                      <a:pt x="261" y="0"/>
                    </a:lnTo>
                    <a:close/>
                  </a:path>
                </a:pathLst>
              </a:custGeom>
              <a:solidFill>
                <a:srgbClr val="758C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8" name="Freeform 307">
                <a:extLst>
                  <a:ext uri="{FF2B5EF4-FFF2-40B4-BE49-F238E27FC236}">
                    <a16:creationId xmlns:a16="http://schemas.microsoft.com/office/drawing/2014/main" id="{71E8C60D-6EBA-465E-934B-A623ADF4A3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4334970" y="1895682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260 h 260"/>
                  <a:gd name="T6" fmla="*/ 261 w 261"/>
                  <a:gd name="T7" fmla="*/ 260 h 260"/>
                  <a:gd name="T8" fmla="*/ 261 w 261"/>
                  <a:gd name="T9" fmla="*/ 0 h 260"/>
                  <a:gd name="T10" fmla="*/ 261 w 261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0"/>
                    </a:lnTo>
                    <a:lnTo>
                      <a:pt x="2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09" name="Rectangle 308">
                <a:extLst>
                  <a:ext uri="{FF2B5EF4-FFF2-40B4-BE49-F238E27FC236}">
                    <a16:creationId xmlns:a16="http://schemas.microsoft.com/office/drawing/2014/main" id="{DE5D8B5B-2963-4A35-8551-69453D1D98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498556" y="2060526"/>
                <a:ext cx="1259" cy="327172"/>
              </a:xfrm>
              <a:prstGeom prst="rect">
                <a:avLst/>
              </a:prstGeom>
              <a:solidFill>
                <a:srgbClr val="004A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10" name="Rectangle 309">
                <a:extLst>
                  <a:ext uri="{FF2B5EF4-FFF2-40B4-BE49-F238E27FC236}">
                    <a16:creationId xmlns:a16="http://schemas.microsoft.com/office/drawing/2014/main" id="{609547F9-37DD-49C2-98EB-378EF7911AD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498556" y="2060526"/>
                <a:ext cx="1259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11" name="Rectangle 310">
                <a:extLst>
                  <a:ext uri="{FF2B5EF4-FFF2-40B4-BE49-F238E27FC236}">
                    <a16:creationId xmlns:a16="http://schemas.microsoft.com/office/drawing/2014/main" id="{DE8C7F53-C34C-465E-90F5-2C750D56247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3712" y="3214436"/>
                <a:ext cx="330947" cy="327172"/>
              </a:xfrm>
              <a:prstGeom prst="rect">
                <a:avLst/>
              </a:prstGeom>
              <a:solidFill>
                <a:srgbClr val="C1B5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312" name="Rectangle 311">
                <a:extLst>
                  <a:ext uri="{FF2B5EF4-FFF2-40B4-BE49-F238E27FC236}">
                    <a16:creationId xmlns:a16="http://schemas.microsoft.com/office/drawing/2014/main" id="{71356024-52B2-4936-A247-5977B43C776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334341" y="3543495"/>
                <a:ext cx="329689" cy="327172"/>
              </a:xfrm>
              <a:prstGeom prst="rect">
                <a:avLst/>
              </a:prstGeom>
              <a:solidFill>
                <a:srgbClr val="D0C7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2B48A77E-AC26-4B31-A615-D4588A55F177}"/>
                </a:ext>
              </a:extLst>
            </p:cNvPr>
            <p:cNvGrpSpPr/>
            <p:nvPr userDrawn="1"/>
          </p:nvGrpSpPr>
          <p:grpSpPr>
            <a:xfrm>
              <a:off x="12683573" y="1234416"/>
              <a:ext cx="327172" cy="2633735"/>
              <a:chOff x="13074729" y="1234416"/>
              <a:chExt cx="327172" cy="2633735"/>
            </a:xfrm>
          </p:grpSpPr>
          <p:sp>
            <p:nvSpPr>
              <p:cNvPr id="287" name="Rectangle 286">
                <a:extLst>
                  <a:ext uri="{FF2B5EF4-FFF2-40B4-BE49-F238E27FC236}">
                    <a16:creationId xmlns:a16="http://schemas.microsoft.com/office/drawing/2014/main" id="{41BE88BD-815F-4178-948A-6E8DA24A2CC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073470" y="2219707"/>
                <a:ext cx="329689" cy="327172"/>
              </a:xfrm>
              <a:prstGeom prst="rect">
                <a:avLst/>
              </a:prstGeom>
              <a:solidFill>
                <a:srgbClr val="003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8" name="Rectangle 287">
                <a:extLst>
                  <a:ext uri="{FF2B5EF4-FFF2-40B4-BE49-F238E27FC236}">
                    <a16:creationId xmlns:a16="http://schemas.microsoft.com/office/drawing/2014/main" id="{27E256B5-7A0E-4952-86F4-55E69AD4A99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073470" y="2219707"/>
                <a:ext cx="329689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9" name="Freeform 288">
                <a:extLst>
                  <a:ext uri="{FF2B5EF4-FFF2-40B4-BE49-F238E27FC236}">
                    <a16:creationId xmlns:a16="http://schemas.microsoft.com/office/drawing/2014/main" id="{3D5F2A93-4EE7-4AE6-B98E-77A4E0362F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3074099" y="2548767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0 h 260"/>
                  <a:gd name="T6" fmla="*/ 0 w 261"/>
                  <a:gd name="T7" fmla="*/ 260 h 260"/>
                  <a:gd name="T8" fmla="*/ 261 w 261"/>
                  <a:gd name="T9" fmla="*/ 260 h 260"/>
                  <a:gd name="T10" fmla="*/ 261 w 261"/>
                  <a:gd name="T11" fmla="*/ 260 h 260"/>
                  <a:gd name="T12" fmla="*/ 261 w 261"/>
                  <a:gd name="T13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260"/>
                    </a:lnTo>
                    <a:lnTo>
                      <a:pt x="261" y="0"/>
                    </a:lnTo>
                    <a:close/>
                  </a:path>
                </a:pathLst>
              </a:custGeom>
              <a:solidFill>
                <a:srgbClr val="3C6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0" name="Freeform 289">
                <a:extLst>
                  <a:ext uri="{FF2B5EF4-FFF2-40B4-BE49-F238E27FC236}">
                    <a16:creationId xmlns:a16="http://schemas.microsoft.com/office/drawing/2014/main" id="{05CBF720-A1AF-4774-9ECB-9AC0FB916D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3074099" y="2548767"/>
                <a:ext cx="328431" cy="327172"/>
              </a:xfrm>
              <a:custGeom>
                <a:avLst/>
                <a:gdLst>
                  <a:gd name="T0" fmla="*/ 261 w 261"/>
                  <a:gd name="T1" fmla="*/ 0 h 260"/>
                  <a:gd name="T2" fmla="*/ 0 w 261"/>
                  <a:gd name="T3" fmla="*/ 0 h 260"/>
                  <a:gd name="T4" fmla="*/ 0 w 261"/>
                  <a:gd name="T5" fmla="*/ 0 h 260"/>
                  <a:gd name="T6" fmla="*/ 0 w 261"/>
                  <a:gd name="T7" fmla="*/ 260 h 260"/>
                  <a:gd name="T8" fmla="*/ 261 w 261"/>
                  <a:gd name="T9" fmla="*/ 260 h 260"/>
                  <a:gd name="T10" fmla="*/ 261 w 261"/>
                  <a:gd name="T11" fmla="*/ 260 h 260"/>
                  <a:gd name="T12" fmla="*/ 261 w 261"/>
                  <a:gd name="T13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1" h="260">
                    <a:moveTo>
                      <a:pt x="26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1" y="260"/>
                    </a:lnTo>
                    <a:lnTo>
                      <a:pt x="261" y="260"/>
                    </a:lnTo>
                    <a:lnTo>
                      <a:pt x="2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FCE0BC0D-2DE8-47AF-8E14-0479F61F701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237685" y="2385181"/>
                <a:ext cx="1259" cy="327172"/>
              </a:xfrm>
              <a:prstGeom prst="rect">
                <a:avLst/>
              </a:prstGeom>
              <a:solidFill>
                <a:srgbClr val="003A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7D626323-CDD7-4D8B-8B1A-30D81D85AC1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237685" y="2385181"/>
                <a:ext cx="1259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3" name="Freeform 292">
                <a:extLst>
                  <a:ext uri="{FF2B5EF4-FFF2-40B4-BE49-F238E27FC236}">
                    <a16:creationId xmlns:a16="http://schemas.microsoft.com/office/drawing/2014/main" id="{4936B756-268B-4F55-AE09-9E93275A23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3072841" y="2878456"/>
                <a:ext cx="330947" cy="327172"/>
              </a:xfrm>
              <a:custGeom>
                <a:avLst/>
                <a:gdLst>
                  <a:gd name="T0" fmla="*/ 263 w 263"/>
                  <a:gd name="T1" fmla="*/ 0 h 260"/>
                  <a:gd name="T2" fmla="*/ 0 w 263"/>
                  <a:gd name="T3" fmla="*/ 0 h 260"/>
                  <a:gd name="T4" fmla="*/ 0 w 263"/>
                  <a:gd name="T5" fmla="*/ 0 h 260"/>
                  <a:gd name="T6" fmla="*/ 0 w 263"/>
                  <a:gd name="T7" fmla="*/ 260 h 260"/>
                  <a:gd name="T8" fmla="*/ 263 w 263"/>
                  <a:gd name="T9" fmla="*/ 260 h 260"/>
                  <a:gd name="T10" fmla="*/ 263 w 263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0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3" y="260"/>
                    </a:lnTo>
                    <a:lnTo>
                      <a:pt x="263" y="0"/>
                    </a:lnTo>
                    <a:close/>
                  </a:path>
                </a:pathLst>
              </a:custGeom>
              <a:solidFill>
                <a:srgbClr val="758C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4" name="Freeform 293">
                <a:extLst>
                  <a:ext uri="{FF2B5EF4-FFF2-40B4-BE49-F238E27FC236}">
                    <a16:creationId xmlns:a16="http://schemas.microsoft.com/office/drawing/2014/main" id="{31A6C042-9A43-457C-AFCC-B0C4431E42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3072841" y="2878456"/>
                <a:ext cx="330947" cy="327172"/>
              </a:xfrm>
              <a:custGeom>
                <a:avLst/>
                <a:gdLst>
                  <a:gd name="T0" fmla="*/ 263 w 263"/>
                  <a:gd name="T1" fmla="*/ 0 h 260"/>
                  <a:gd name="T2" fmla="*/ 0 w 263"/>
                  <a:gd name="T3" fmla="*/ 0 h 260"/>
                  <a:gd name="T4" fmla="*/ 0 w 263"/>
                  <a:gd name="T5" fmla="*/ 0 h 260"/>
                  <a:gd name="T6" fmla="*/ 0 w 263"/>
                  <a:gd name="T7" fmla="*/ 260 h 260"/>
                  <a:gd name="T8" fmla="*/ 263 w 263"/>
                  <a:gd name="T9" fmla="*/ 260 h 260"/>
                  <a:gd name="T10" fmla="*/ 263 w 263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0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263" y="260"/>
                    </a:lnTo>
                    <a:lnTo>
                      <a:pt x="26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70629231-30FC-4E77-BD63-8FB073CB578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1236304"/>
                <a:ext cx="330947" cy="327172"/>
              </a:xfrm>
              <a:prstGeom prst="rect">
                <a:avLst/>
              </a:prstGeom>
              <a:solidFill>
                <a:srgbClr val="43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6" name="Rectangle 295">
                <a:extLst>
                  <a:ext uri="{FF2B5EF4-FFF2-40B4-BE49-F238E27FC236}">
                    <a16:creationId xmlns:a16="http://schemas.microsoft.com/office/drawing/2014/main" id="{19291801-4D0D-42A3-802A-88FA08E4DAE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1565993"/>
                <a:ext cx="330947" cy="327172"/>
              </a:xfrm>
              <a:prstGeom prst="rect">
                <a:avLst/>
              </a:prstGeom>
              <a:solidFill>
                <a:srgbClr val="684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7" name="Rectangle 296">
                <a:extLst>
                  <a:ext uri="{FF2B5EF4-FFF2-40B4-BE49-F238E27FC236}">
                    <a16:creationId xmlns:a16="http://schemas.microsoft.com/office/drawing/2014/main" id="{94CDDCC3-153A-4085-BC6D-31BA0024695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1891907"/>
                <a:ext cx="330947" cy="327172"/>
              </a:xfrm>
              <a:prstGeom prst="rect">
                <a:avLst/>
              </a:prstGeom>
              <a:solidFill>
                <a:srgbClr val="947E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8" name="Rectangle 297">
                <a:extLst>
                  <a:ext uri="{FF2B5EF4-FFF2-40B4-BE49-F238E27FC236}">
                    <a16:creationId xmlns:a16="http://schemas.microsoft.com/office/drawing/2014/main" id="{CDF486EE-5882-42A7-9866-6BBE2FC9D55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072841" y="3209402"/>
                <a:ext cx="330947" cy="327172"/>
              </a:xfrm>
              <a:prstGeom prst="rect">
                <a:avLst/>
              </a:prstGeom>
              <a:solidFill>
                <a:srgbClr val="C1B5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52C2A68C-F800-4549-9F7F-261BF16C52A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073470" y="3539721"/>
                <a:ext cx="329689" cy="327172"/>
              </a:xfrm>
              <a:prstGeom prst="rect">
                <a:avLst/>
              </a:prstGeom>
              <a:solidFill>
                <a:srgbClr val="D0C7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9CBCB6F8-4A67-44DB-ADB6-7AD14D65A3C6}"/>
                </a:ext>
              </a:extLst>
            </p:cNvPr>
            <p:cNvGrpSpPr/>
            <p:nvPr userDrawn="1"/>
          </p:nvGrpSpPr>
          <p:grpSpPr>
            <a:xfrm>
              <a:off x="13092004" y="1234416"/>
              <a:ext cx="327172" cy="2642543"/>
              <a:chOff x="13713973" y="1234416"/>
              <a:chExt cx="327172" cy="2642543"/>
            </a:xfrm>
          </p:grpSpPr>
          <p:sp>
            <p:nvSpPr>
              <p:cNvPr id="274" name="Rectangle 273">
                <a:extLst>
                  <a:ext uri="{FF2B5EF4-FFF2-40B4-BE49-F238E27FC236}">
                    <a16:creationId xmlns:a16="http://schemas.microsoft.com/office/drawing/2014/main" id="{89AFB0FC-F5A2-4145-A3D1-2B19BB39F61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2227887"/>
                <a:ext cx="328431" cy="327172"/>
              </a:xfrm>
              <a:prstGeom prst="rect">
                <a:avLst/>
              </a:prstGeom>
              <a:solidFill>
                <a:srgbClr val="43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256C7E6C-0977-418D-9A3D-F2EBD6DC9A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2556317"/>
                <a:ext cx="330947" cy="327172"/>
              </a:xfrm>
              <a:prstGeom prst="rect">
                <a:avLst/>
              </a:prstGeom>
              <a:solidFill>
                <a:srgbClr val="684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0CF492FF-99B0-4875-93DF-C47D23F705F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3216953"/>
                <a:ext cx="328431" cy="327172"/>
              </a:xfrm>
              <a:prstGeom prst="rect">
                <a:avLst/>
              </a:prstGeom>
              <a:solidFill>
                <a:srgbClr val="670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5C57E2F4-B784-4658-91C7-6A091E126FD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3549158"/>
                <a:ext cx="328431" cy="327172"/>
              </a:xfrm>
              <a:prstGeom prst="rect">
                <a:avLst/>
              </a:prstGeom>
              <a:solidFill>
                <a:srgbClr val="A77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8" name="Rectangle 277">
                <a:extLst>
                  <a:ext uri="{FF2B5EF4-FFF2-40B4-BE49-F238E27FC236}">
                    <a16:creationId xmlns:a16="http://schemas.microsoft.com/office/drawing/2014/main" id="{BB7C916B-A9F0-4DAF-8B43-534E4B2559C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1236304"/>
                <a:ext cx="330947" cy="327172"/>
              </a:xfrm>
              <a:prstGeom prst="rect">
                <a:avLst/>
              </a:prstGeom>
              <a:solidFill>
                <a:srgbClr val="A012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43A5D6B5-C680-45A9-9C41-A1BF00DFEE3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1236304"/>
                <a:ext cx="33094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9335F352-E754-4DAE-A410-E49D58DAE5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3712714" y="1564106"/>
                <a:ext cx="329689" cy="327172"/>
              </a:xfrm>
              <a:custGeom>
                <a:avLst/>
                <a:gdLst>
                  <a:gd name="T0" fmla="*/ 262 w 262"/>
                  <a:gd name="T1" fmla="*/ 0 h 260"/>
                  <a:gd name="T2" fmla="*/ 0 w 262"/>
                  <a:gd name="T3" fmla="*/ 0 h 260"/>
                  <a:gd name="T4" fmla="*/ 2 w 262"/>
                  <a:gd name="T5" fmla="*/ 0 h 260"/>
                  <a:gd name="T6" fmla="*/ 2 w 262"/>
                  <a:gd name="T7" fmla="*/ 260 h 260"/>
                  <a:gd name="T8" fmla="*/ 262 w 262"/>
                  <a:gd name="T9" fmla="*/ 260 h 260"/>
                  <a:gd name="T10" fmla="*/ 262 w 262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260">
                    <a:moveTo>
                      <a:pt x="26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60"/>
                    </a:lnTo>
                    <a:lnTo>
                      <a:pt x="262" y="260"/>
                    </a:lnTo>
                    <a:lnTo>
                      <a:pt x="262" y="0"/>
                    </a:lnTo>
                    <a:close/>
                  </a:path>
                </a:pathLst>
              </a:custGeom>
              <a:solidFill>
                <a:srgbClr val="B74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1" name="Freeform 280">
                <a:extLst>
                  <a:ext uri="{FF2B5EF4-FFF2-40B4-BE49-F238E27FC236}">
                    <a16:creationId xmlns:a16="http://schemas.microsoft.com/office/drawing/2014/main" id="{3C1F8F7C-FCBE-464F-8094-ED25D806CF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3712714" y="1564106"/>
                <a:ext cx="329689" cy="327172"/>
              </a:xfrm>
              <a:custGeom>
                <a:avLst/>
                <a:gdLst>
                  <a:gd name="T0" fmla="*/ 262 w 262"/>
                  <a:gd name="T1" fmla="*/ 0 h 260"/>
                  <a:gd name="T2" fmla="*/ 0 w 262"/>
                  <a:gd name="T3" fmla="*/ 0 h 260"/>
                  <a:gd name="T4" fmla="*/ 2 w 262"/>
                  <a:gd name="T5" fmla="*/ 0 h 260"/>
                  <a:gd name="T6" fmla="*/ 2 w 262"/>
                  <a:gd name="T7" fmla="*/ 260 h 260"/>
                  <a:gd name="T8" fmla="*/ 262 w 262"/>
                  <a:gd name="T9" fmla="*/ 260 h 260"/>
                  <a:gd name="T10" fmla="*/ 262 w 262"/>
                  <a:gd name="T1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260">
                    <a:moveTo>
                      <a:pt x="26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60"/>
                    </a:lnTo>
                    <a:lnTo>
                      <a:pt x="262" y="260"/>
                    </a:lnTo>
                    <a:lnTo>
                      <a:pt x="26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56CCED80-01F4-44D3-93B9-26A25D0A0D4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876300" y="1400520"/>
                <a:ext cx="2517" cy="327172"/>
              </a:xfrm>
              <a:prstGeom prst="rect">
                <a:avLst/>
              </a:prstGeom>
              <a:solidFill>
                <a:srgbClr val="A012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3" name="Rectangle 282">
                <a:extLst>
                  <a:ext uri="{FF2B5EF4-FFF2-40B4-BE49-F238E27FC236}">
                    <a16:creationId xmlns:a16="http://schemas.microsoft.com/office/drawing/2014/main" id="{E305DF21-25A2-4DE9-8849-78EB8A2D8E0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876300" y="1400520"/>
                <a:ext cx="2517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4" name="Rectangle 283">
                <a:extLst>
                  <a:ext uri="{FF2B5EF4-FFF2-40B4-BE49-F238E27FC236}">
                    <a16:creationId xmlns:a16="http://schemas.microsoft.com/office/drawing/2014/main" id="{1323E554-0941-4328-AD7D-39878D1F8EE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1895682"/>
                <a:ext cx="328431" cy="327172"/>
              </a:xfrm>
              <a:prstGeom prst="rect">
                <a:avLst/>
              </a:prstGeom>
              <a:solidFill>
                <a:srgbClr val="CF86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5" name="Rectangle 284">
                <a:extLst>
                  <a:ext uri="{FF2B5EF4-FFF2-40B4-BE49-F238E27FC236}">
                    <a16:creationId xmlns:a16="http://schemas.microsoft.com/office/drawing/2014/main" id="{D601E8B4-F738-4DED-A4AE-46C5D62DDF3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3343" y="1895682"/>
                <a:ext cx="328431" cy="3271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86" name="Rectangle 285">
                <a:extLst>
                  <a:ext uri="{FF2B5EF4-FFF2-40B4-BE49-F238E27FC236}">
                    <a16:creationId xmlns:a16="http://schemas.microsoft.com/office/drawing/2014/main" id="{1DE5204C-9374-4A85-BF71-7B563446C88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3712085" y="2887264"/>
                <a:ext cx="330947" cy="327172"/>
              </a:xfrm>
              <a:prstGeom prst="rect">
                <a:avLst/>
              </a:prstGeom>
              <a:solidFill>
                <a:srgbClr val="947E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C304EBEB-8178-452A-BDCD-35B59803B46C}"/>
                </a:ext>
              </a:extLst>
            </p:cNvPr>
            <p:cNvGrpSpPr/>
            <p:nvPr userDrawn="1"/>
          </p:nvGrpSpPr>
          <p:grpSpPr>
            <a:xfrm>
              <a:off x="13908868" y="1234417"/>
              <a:ext cx="328431" cy="2633734"/>
              <a:chOff x="14966034" y="1234417"/>
              <a:chExt cx="328431" cy="2633734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65E0BFB5-9C12-48A4-AF97-2B01225E8A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5405" y="2221595"/>
                <a:ext cx="329689" cy="328431"/>
              </a:xfrm>
              <a:prstGeom prst="rect">
                <a:avLst/>
              </a:prstGeom>
              <a:solidFill>
                <a:srgbClr val="43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2EAD69F4-162F-41F6-B03A-3E934019BF4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2549396"/>
                <a:ext cx="330947" cy="328431"/>
              </a:xfrm>
              <a:prstGeom prst="rect">
                <a:avLst/>
              </a:prstGeom>
              <a:solidFill>
                <a:srgbClr val="684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DD293B67-A27C-43CA-8C3E-B8AA1953C6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5405" y="2877198"/>
                <a:ext cx="329689" cy="328431"/>
              </a:xfrm>
              <a:prstGeom prst="rect">
                <a:avLst/>
              </a:prstGeom>
              <a:solidFill>
                <a:srgbClr val="947E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8203E20B-3525-4E53-84C9-6491B934134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3207515"/>
                <a:ext cx="330947" cy="328431"/>
              </a:xfrm>
              <a:prstGeom prst="rect">
                <a:avLst/>
              </a:prstGeom>
              <a:solidFill>
                <a:srgbClr val="B6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14E8B2AC-27A9-498C-B76C-4C82AFF6CD4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3538462"/>
                <a:ext cx="330947" cy="328431"/>
              </a:xfrm>
              <a:prstGeom prst="rect">
                <a:avLst/>
              </a:prstGeom>
              <a:solidFill>
                <a:srgbClr val="DDC9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219D184B-724B-4549-B276-708DE53CF00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1235675"/>
                <a:ext cx="330947" cy="328431"/>
              </a:xfrm>
              <a:prstGeom prst="rect">
                <a:avLst/>
              </a:prstGeom>
              <a:solidFill>
                <a:srgbClr val="CF74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765600B5-00EC-44BE-8D1C-E42EC5C446F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5405" y="1560960"/>
                <a:ext cx="329689" cy="328431"/>
              </a:xfrm>
              <a:prstGeom prst="rect">
                <a:avLst/>
              </a:prstGeom>
              <a:solidFill>
                <a:srgbClr val="DB96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7878C703-1080-4F72-84F0-20FD926BD11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4964776" y="1891278"/>
                <a:ext cx="330947" cy="328431"/>
              </a:xfrm>
              <a:prstGeom prst="rect">
                <a:avLst/>
              </a:prstGeom>
              <a:solidFill>
                <a:srgbClr val="E8BA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4D1BE4ED-97B7-45EE-9E98-D34CE31B4AA5}"/>
                </a:ext>
              </a:extLst>
            </p:cNvPr>
            <p:cNvGrpSpPr/>
            <p:nvPr userDrawn="1"/>
          </p:nvGrpSpPr>
          <p:grpSpPr>
            <a:xfrm>
              <a:off x="12273883" y="1234417"/>
              <a:ext cx="328431" cy="2634993"/>
              <a:chOff x="12469460" y="1234417"/>
              <a:chExt cx="328431" cy="2634993"/>
            </a:xfrm>
          </p:grpSpPr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CACF16B6-783F-4A5F-8016-73047E303D8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1235675"/>
                <a:ext cx="330947" cy="328431"/>
              </a:xfrm>
              <a:prstGeom prst="rect">
                <a:avLst/>
              </a:prstGeom>
              <a:solidFill>
                <a:srgbClr val="B69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27FA6396-42EF-4A52-A123-4B4C3F4FC6E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831" y="2225371"/>
                <a:ext cx="329689" cy="328431"/>
              </a:xfrm>
              <a:prstGeom prst="rect">
                <a:avLst/>
              </a:prstGeom>
              <a:solidFill>
                <a:srgbClr val="670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510EEAB4-3274-44FB-85C7-DFB9FD18414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1565364"/>
                <a:ext cx="330947" cy="328431"/>
              </a:xfrm>
              <a:prstGeom prst="rect">
                <a:avLst/>
              </a:prstGeom>
              <a:solidFill>
                <a:srgbClr val="CAB0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3A756D21-5112-4FFF-8D0A-FB4245333DF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831" y="1895682"/>
                <a:ext cx="329689" cy="328431"/>
              </a:xfrm>
              <a:prstGeom prst="rect">
                <a:avLst/>
              </a:prstGeom>
              <a:solidFill>
                <a:srgbClr val="DDC9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87653F13-C597-4C95-AC08-34301E33AB7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2554429"/>
                <a:ext cx="330947" cy="328431"/>
              </a:xfrm>
              <a:prstGeom prst="rect">
                <a:avLst/>
              </a:prstGeom>
              <a:solidFill>
                <a:srgbClr val="8445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7A1D7417-99A0-485F-8161-BAFB3E17EA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831" y="2882231"/>
                <a:ext cx="329689" cy="328431"/>
              </a:xfrm>
              <a:prstGeom prst="rect">
                <a:avLst/>
              </a:prstGeom>
              <a:solidFill>
                <a:srgbClr val="A77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FE7CCBA0-7BAB-4179-A2C6-AA64A03950E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3208773"/>
                <a:ext cx="330947" cy="328431"/>
              </a:xfrm>
              <a:prstGeom prst="rect">
                <a:avLst/>
              </a:prstGeom>
              <a:solidFill>
                <a:srgbClr val="003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14D26132-6921-4305-9E80-B135B4BAFC1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468202" y="3208773"/>
                <a:ext cx="330947" cy="328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6" name="Freeform 185">
                <a:extLst>
                  <a:ext uri="{FF2B5EF4-FFF2-40B4-BE49-F238E27FC236}">
                    <a16:creationId xmlns:a16="http://schemas.microsoft.com/office/drawing/2014/main" id="{102909C0-6E33-4436-902E-84D9CCB6D1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2468202" y="3539721"/>
                <a:ext cx="330947" cy="328431"/>
              </a:xfrm>
              <a:custGeom>
                <a:avLst/>
                <a:gdLst>
                  <a:gd name="T0" fmla="*/ 263 w 263"/>
                  <a:gd name="T1" fmla="*/ 0 h 261"/>
                  <a:gd name="T2" fmla="*/ 0 w 263"/>
                  <a:gd name="T3" fmla="*/ 0 h 261"/>
                  <a:gd name="T4" fmla="*/ 0 w 263"/>
                  <a:gd name="T5" fmla="*/ 0 h 261"/>
                  <a:gd name="T6" fmla="*/ 0 w 263"/>
                  <a:gd name="T7" fmla="*/ 261 h 261"/>
                  <a:gd name="T8" fmla="*/ 263 w 263"/>
                  <a:gd name="T9" fmla="*/ 261 h 261"/>
                  <a:gd name="T10" fmla="*/ 263 w 263"/>
                  <a:gd name="T11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1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1"/>
                    </a:lnTo>
                    <a:lnTo>
                      <a:pt x="263" y="261"/>
                    </a:lnTo>
                    <a:lnTo>
                      <a:pt x="263" y="0"/>
                    </a:lnTo>
                    <a:close/>
                  </a:path>
                </a:pathLst>
              </a:custGeom>
              <a:solidFill>
                <a:srgbClr val="758C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87" name="Freeform 186">
                <a:extLst>
                  <a:ext uri="{FF2B5EF4-FFF2-40B4-BE49-F238E27FC236}">
                    <a16:creationId xmlns:a16="http://schemas.microsoft.com/office/drawing/2014/main" id="{58407D1D-37CD-43FD-8D5D-D020F59383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2468202" y="3539721"/>
                <a:ext cx="330947" cy="328431"/>
              </a:xfrm>
              <a:custGeom>
                <a:avLst/>
                <a:gdLst>
                  <a:gd name="T0" fmla="*/ 263 w 263"/>
                  <a:gd name="T1" fmla="*/ 0 h 261"/>
                  <a:gd name="T2" fmla="*/ 0 w 263"/>
                  <a:gd name="T3" fmla="*/ 0 h 261"/>
                  <a:gd name="T4" fmla="*/ 0 w 263"/>
                  <a:gd name="T5" fmla="*/ 0 h 261"/>
                  <a:gd name="T6" fmla="*/ 0 w 263"/>
                  <a:gd name="T7" fmla="*/ 261 h 261"/>
                  <a:gd name="T8" fmla="*/ 263 w 263"/>
                  <a:gd name="T9" fmla="*/ 261 h 261"/>
                  <a:gd name="T10" fmla="*/ 263 w 263"/>
                  <a:gd name="T11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61">
                    <a:moveTo>
                      <a:pt x="26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61"/>
                    </a:lnTo>
                    <a:lnTo>
                      <a:pt x="263" y="261"/>
                    </a:lnTo>
                    <a:lnTo>
                      <a:pt x="26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65730510-F5B5-40F9-9966-C3A4A24D84DF}"/>
                </a:ext>
              </a:extLst>
            </p:cNvPr>
            <p:cNvGrpSpPr/>
            <p:nvPr userDrawn="1"/>
          </p:nvGrpSpPr>
          <p:grpSpPr>
            <a:xfrm>
              <a:off x="11862935" y="1234417"/>
              <a:ext cx="329689" cy="2640026"/>
              <a:chOff x="11862935" y="1234417"/>
              <a:chExt cx="329689" cy="2640026"/>
            </a:xfrm>
          </p:grpSpPr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91597F7E-C3ED-4688-8B28-CF6B012D5AA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3214436"/>
                <a:ext cx="330947" cy="329689"/>
              </a:xfrm>
              <a:prstGeom prst="rect">
                <a:avLst/>
              </a:prstGeom>
              <a:solidFill>
                <a:srgbClr val="670D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C3F50F1-2E16-47C5-B28F-483474DA854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3214436"/>
                <a:ext cx="330947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24444A0A-529A-4AA3-B7F2-D7D8ED4A51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3544125"/>
                <a:ext cx="330947" cy="329689"/>
              </a:xfrm>
              <a:prstGeom prst="rect">
                <a:avLst/>
              </a:prstGeom>
              <a:solidFill>
                <a:srgbClr val="A77D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FC497DC-6EA2-4129-8A66-EBA18E882E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224112"/>
                <a:ext cx="330947" cy="329689"/>
              </a:xfrm>
              <a:prstGeom prst="rect">
                <a:avLst/>
              </a:prstGeom>
              <a:solidFill>
                <a:srgbClr val="A012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C73C1F30-A2CE-4BCA-AB14-568C139ED4D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224112"/>
                <a:ext cx="330947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6FE33464-1B24-4D43-8B1C-A80FCFF4CF9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555059"/>
                <a:ext cx="330947" cy="329689"/>
              </a:xfrm>
              <a:prstGeom prst="rect">
                <a:avLst/>
              </a:prstGeom>
              <a:solidFill>
                <a:srgbClr val="B74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232BD54-5541-46C9-9795-F9EFB776F5D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2555059"/>
                <a:ext cx="330947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1" name="Freeform 170">
                <a:extLst>
                  <a:ext uri="{FF2B5EF4-FFF2-40B4-BE49-F238E27FC236}">
                    <a16:creationId xmlns:a16="http://schemas.microsoft.com/office/drawing/2014/main" id="{1D09A513-E3A9-4400-BA1F-7DF021B143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1863564" y="2884748"/>
                <a:ext cx="328431" cy="329689"/>
              </a:xfrm>
              <a:custGeom>
                <a:avLst/>
                <a:gdLst>
                  <a:gd name="T0" fmla="*/ 261 w 261"/>
                  <a:gd name="T1" fmla="*/ 0 h 262"/>
                  <a:gd name="T2" fmla="*/ 0 w 261"/>
                  <a:gd name="T3" fmla="*/ 0 h 262"/>
                  <a:gd name="T4" fmla="*/ 0 w 261"/>
                  <a:gd name="T5" fmla="*/ 262 h 262"/>
                  <a:gd name="T6" fmla="*/ 261 w 261"/>
                  <a:gd name="T7" fmla="*/ 262 h 262"/>
                  <a:gd name="T8" fmla="*/ 261 w 261"/>
                  <a:gd name="T9" fmla="*/ 0 h 262"/>
                  <a:gd name="T10" fmla="*/ 261 w 261"/>
                  <a:gd name="T11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2">
                    <a:moveTo>
                      <a:pt x="261" y="0"/>
                    </a:moveTo>
                    <a:lnTo>
                      <a:pt x="0" y="0"/>
                    </a:lnTo>
                    <a:lnTo>
                      <a:pt x="0" y="262"/>
                    </a:lnTo>
                    <a:lnTo>
                      <a:pt x="261" y="262"/>
                    </a:lnTo>
                    <a:lnTo>
                      <a:pt x="261" y="0"/>
                    </a:lnTo>
                    <a:lnTo>
                      <a:pt x="261" y="0"/>
                    </a:lnTo>
                    <a:close/>
                  </a:path>
                </a:pathLst>
              </a:custGeom>
              <a:solidFill>
                <a:srgbClr val="CF86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2" name="Freeform 171">
                <a:extLst>
                  <a:ext uri="{FF2B5EF4-FFF2-40B4-BE49-F238E27FC236}">
                    <a16:creationId xmlns:a16="http://schemas.microsoft.com/office/drawing/2014/main" id="{8DD579EA-C21D-4ED2-8E7E-FB6300EF71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 rot="5400000">
                <a:off x="11863564" y="2884748"/>
                <a:ext cx="328431" cy="329689"/>
              </a:xfrm>
              <a:custGeom>
                <a:avLst/>
                <a:gdLst>
                  <a:gd name="T0" fmla="*/ 261 w 261"/>
                  <a:gd name="T1" fmla="*/ 0 h 262"/>
                  <a:gd name="T2" fmla="*/ 0 w 261"/>
                  <a:gd name="T3" fmla="*/ 0 h 262"/>
                  <a:gd name="T4" fmla="*/ 0 w 261"/>
                  <a:gd name="T5" fmla="*/ 262 h 262"/>
                  <a:gd name="T6" fmla="*/ 261 w 261"/>
                  <a:gd name="T7" fmla="*/ 262 h 262"/>
                  <a:gd name="T8" fmla="*/ 261 w 261"/>
                  <a:gd name="T9" fmla="*/ 0 h 262"/>
                  <a:gd name="T10" fmla="*/ 261 w 261"/>
                  <a:gd name="T11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1" h="262">
                    <a:moveTo>
                      <a:pt x="261" y="0"/>
                    </a:moveTo>
                    <a:lnTo>
                      <a:pt x="0" y="0"/>
                    </a:lnTo>
                    <a:lnTo>
                      <a:pt x="0" y="262"/>
                    </a:lnTo>
                    <a:lnTo>
                      <a:pt x="261" y="262"/>
                    </a:lnTo>
                    <a:lnTo>
                      <a:pt x="261" y="0"/>
                    </a:lnTo>
                    <a:lnTo>
                      <a:pt x="2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B7368CD9-9609-4D22-890C-5BF48B80FB9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027150" y="3049592"/>
                <a:ext cx="1259" cy="329689"/>
              </a:xfrm>
              <a:prstGeom prst="rect">
                <a:avLst/>
              </a:prstGeom>
              <a:solidFill>
                <a:srgbClr val="8412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6E7AA89F-804D-49A9-AD4E-8763C5F7CB3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2027150" y="3049592"/>
                <a:ext cx="1259" cy="329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EF726F29-23BE-47B1-AE21-16AD86B4089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1235046"/>
                <a:ext cx="330947" cy="329689"/>
              </a:xfrm>
              <a:prstGeom prst="rect">
                <a:avLst/>
              </a:prstGeom>
              <a:solidFill>
                <a:srgbClr val="0058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DC638752-D1AC-4086-95C2-A9181BE2AD1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2306" y="1564735"/>
                <a:ext cx="330947" cy="329689"/>
              </a:xfrm>
              <a:prstGeom prst="rect">
                <a:avLst/>
              </a:prstGeom>
              <a:solidFill>
                <a:srgbClr val="287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74CDCFFD-CB84-433C-BEA2-B2988A7347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 rot="5400000">
                <a:off x="11863564" y="1894424"/>
                <a:ext cx="328431" cy="329689"/>
              </a:xfrm>
              <a:prstGeom prst="rect">
                <a:avLst/>
              </a:prstGeom>
              <a:solidFill>
                <a:srgbClr val="77A0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6327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7265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08981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45308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81635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617962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54289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90616" algn="l" defTabSz="872655" rtl="0" eaLnBrk="1" latinLnBrk="0" hangingPunct="1"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</p:grpSp>
      <p:sp>
        <p:nvSpPr>
          <p:cNvPr id="313" name="Rectangle 312">
            <a:extLst>
              <a:ext uri="{FF2B5EF4-FFF2-40B4-BE49-F238E27FC236}">
                <a16:creationId xmlns:a16="http://schemas.microsoft.com/office/drawing/2014/main" id="{7E400FA1-32D7-4734-88C9-ECE116D96E85}"/>
              </a:ext>
            </a:extLst>
          </p:cNvPr>
          <p:cNvSpPr/>
          <p:nvPr userDrawn="1"/>
        </p:nvSpPr>
        <p:spPr>
          <a:xfrm>
            <a:off x="12346517" y="3205412"/>
            <a:ext cx="540000" cy="540000"/>
          </a:xfrm>
          <a:prstGeom prst="rect">
            <a:avLst/>
          </a:prstGeom>
          <a:solidFill>
            <a:srgbClr val="520D8E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n-lt"/>
              </a:rPr>
              <a:t>82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n-lt"/>
              </a:rPr>
              <a:t>13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n-lt"/>
              </a:rPr>
              <a:t>142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A63F5532-3068-4754-8487-6A78322760F2}"/>
              </a:ext>
            </a:extLst>
          </p:cNvPr>
          <p:cNvSpPr/>
          <p:nvPr userDrawn="1"/>
        </p:nvSpPr>
        <p:spPr>
          <a:xfrm>
            <a:off x="12999045" y="3205411"/>
            <a:ext cx="540000" cy="540000"/>
          </a:xfrm>
          <a:prstGeom prst="rect">
            <a:avLst/>
          </a:prstGeom>
          <a:solidFill>
            <a:srgbClr val="350065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53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0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101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EE9E5094-CC88-4F6F-A442-E9A91B8D86A5}"/>
              </a:ext>
            </a:extLst>
          </p:cNvPr>
          <p:cNvSpPr/>
          <p:nvPr userDrawn="1"/>
        </p:nvSpPr>
        <p:spPr>
          <a:xfrm>
            <a:off x="13111573" y="5840154"/>
            <a:ext cx="540000" cy="54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B7280C95-8D9C-4F9F-8399-9EDD439929E8}"/>
              </a:ext>
            </a:extLst>
          </p:cNvPr>
          <p:cNvSpPr txBox="1"/>
          <p:nvPr userDrawn="1"/>
        </p:nvSpPr>
        <p:spPr>
          <a:xfrm>
            <a:off x="12300904" y="2897856"/>
            <a:ext cx="288575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err="1"/>
              <a:t>Mitrais</a:t>
            </a:r>
            <a:r>
              <a:rPr lang="en-AU" sz="1050"/>
              <a:t> Colour Palette (from website):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C514779E-410B-466B-8C4B-80BEC3FAE04C}"/>
              </a:ext>
            </a:extLst>
          </p:cNvPr>
          <p:cNvSpPr/>
          <p:nvPr userDrawn="1"/>
        </p:nvSpPr>
        <p:spPr>
          <a:xfrm>
            <a:off x="12338393" y="5840154"/>
            <a:ext cx="540000" cy="54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299F4AA6-96D7-4352-96FC-69286BB89C62}"/>
              </a:ext>
            </a:extLst>
          </p:cNvPr>
          <p:cNvSpPr txBox="1"/>
          <p:nvPr userDrawn="1"/>
        </p:nvSpPr>
        <p:spPr>
          <a:xfrm>
            <a:off x="12346517" y="3745411"/>
            <a:ext cx="540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Title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865F705A-7A45-4351-9B41-BBBED1B786AC}"/>
              </a:ext>
            </a:extLst>
          </p:cNvPr>
          <p:cNvSpPr txBox="1"/>
          <p:nvPr userDrawn="1"/>
        </p:nvSpPr>
        <p:spPr>
          <a:xfrm>
            <a:off x="12999045" y="3745411"/>
            <a:ext cx="540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Dark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249B0B9F-2C43-449B-9946-C1614FFFB853}"/>
              </a:ext>
            </a:extLst>
          </p:cNvPr>
          <p:cNvSpPr/>
          <p:nvPr userDrawn="1"/>
        </p:nvSpPr>
        <p:spPr>
          <a:xfrm>
            <a:off x="13651573" y="3208586"/>
            <a:ext cx="540000" cy="540000"/>
          </a:xfrm>
          <a:prstGeom prst="rect">
            <a:avLst/>
          </a:prstGeom>
          <a:solidFill>
            <a:srgbClr val="C1BAC8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F067F35E-FDA1-47FF-B184-7223C3B535F7}"/>
              </a:ext>
            </a:extLst>
          </p:cNvPr>
          <p:cNvSpPr txBox="1"/>
          <p:nvPr userDrawn="1"/>
        </p:nvSpPr>
        <p:spPr>
          <a:xfrm>
            <a:off x="13651573" y="3748586"/>
            <a:ext cx="540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Light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DC19B66D-189D-44D3-8915-D788B447DD6E}"/>
              </a:ext>
            </a:extLst>
          </p:cNvPr>
          <p:cNvSpPr/>
          <p:nvPr userDrawn="1"/>
        </p:nvSpPr>
        <p:spPr>
          <a:xfrm>
            <a:off x="12346517" y="4001265"/>
            <a:ext cx="540000" cy="540000"/>
          </a:xfrm>
          <a:prstGeom prst="rect">
            <a:avLst/>
          </a:prstGeom>
          <a:solidFill>
            <a:srgbClr val="6200C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98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0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192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F320EE00-725A-4944-B37E-C013D7DB9F53}"/>
              </a:ext>
            </a:extLst>
          </p:cNvPr>
          <p:cNvSpPr/>
          <p:nvPr userDrawn="1"/>
        </p:nvSpPr>
        <p:spPr>
          <a:xfrm>
            <a:off x="12999917" y="4001265"/>
            <a:ext cx="540000" cy="540000"/>
          </a:xfrm>
          <a:prstGeom prst="rect">
            <a:avLst/>
          </a:prstGeom>
          <a:solidFill>
            <a:srgbClr val="AF45F9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175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69/</a:t>
            </a:r>
          </a:p>
          <a:p>
            <a:pPr algn="ctr"/>
            <a:r>
              <a:rPr lang="en-GB" sz="700">
                <a:solidFill>
                  <a:schemeClr val="bg1"/>
                </a:solidFill>
                <a:latin typeface="+mj-lt"/>
              </a:rPr>
              <a:t>249</a:t>
            </a: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C54FC7E6-CDD8-4527-9162-1281F5EAC5AF}"/>
              </a:ext>
            </a:extLst>
          </p:cNvPr>
          <p:cNvSpPr txBox="1"/>
          <p:nvPr userDrawn="1"/>
        </p:nvSpPr>
        <p:spPr>
          <a:xfrm>
            <a:off x="12212995" y="4546854"/>
            <a:ext cx="807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Shape 1</a:t>
            </a: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6DA45746-9F4C-4D60-A2BB-CC67915E9F17}"/>
              </a:ext>
            </a:extLst>
          </p:cNvPr>
          <p:cNvSpPr/>
          <p:nvPr userDrawn="1"/>
        </p:nvSpPr>
        <p:spPr>
          <a:xfrm>
            <a:off x="12343564" y="484122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95B3D8EA-0D4A-4240-82AA-E79217882FE1}"/>
              </a:ext>
            </a:extLst>
          </p:cNvPr>
          <p:cNvSpPr txBox="1"/>
          <p:nvPr userDrawn="1"/>
        </p:nvSpPr>
        <p:spPr>
          <a:xfrm>
            <a:off x="12852650" y="4546853"/>
            <a:ext cx="807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Shape 2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4127AF6D-61CA-4218-B89B-38F17B369EDD}"/>
              </a:ext>
            </a:extLst>
          </p:cNvPr>
          <p:cNvSpPr txBox="1"/>
          <p:nvPr userDrawn="1"/>
        </p:nvSpPr>
        <p:spPr>
          <a:xfrm>
            <a:off x="12346515" y="5379855"/>
            <a:ext cx="5400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BG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B193EC7C-F8C4-4AA0-8C0E-10A71F905FD4}"/>
              </a:ext>
            </a:extLst>
          </p:cNvPr>
          <p:cNvSpPr/>
          <p:nvPr userDrawn="1"/>
        </p:nvSpPr>
        <p:spPr>
          <a:xfrm>
            <a:off x="12996224" y="4841221"/>
            <a:ext cx="540000" cy="54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GB" sz="900">
                <a:solidFill>
                  <a:schemeClr val="bg1"/>
                </a:solidFill>
                <a:latin typeface="+mn-lt"/>
              </a:rPr>
              <a:t>3/4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9F24A715-2276-4928-A6F7-3D97AADA29ED}"/>
              </a:ext>
            </a:extLst>
          </p:cNvPr>
          <p:cNvSpPr txBox="1"/>
          <p:nvPr userDrawn="1"/>
        </p:nvSpPr>
        <p:spPr>
          <a:xfrm>
            <a:off x="12993273" y="5379855"/>
            <a:ext cx="5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00"/>
              <a:t>Frame</a:t>
            </a:r>
          </a:p>
        </p:txBody>
      </p:sp>
    </p:spTree>
    <p:extLst>
      <p:ext uri="{BB962C8B-B14F-4D97-AF65-F5344CB8AC3E}">
        <p14:creationId xmlns:p14="http://schemas.microsoft.com/office/powerpoint/2010/main" val="2564484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4" r:id="rId19"/>
    <p:sldLayoutId id="2147483705" r:id="rId20"/>
    <p:sldLayoutId id="2147483707" r:id="rId21"/>
  </p:sldLayoutIdLst>
  <p:transition spd="med">
    <p:fade/>
  </p:transition>
  <p:hf hdr="0" ftr="0" dt="0"/>
  <p:txStyles>
    <p:titleStyle>
      <a:lvl1pPr algn="l" defTabSz="872655" rtl="0" eaLnBrk="1" latinLnBrk="0" hangingPunct="1">
        <a:spcBef>
          <a:spcPct val="0"/>
        </a:spcBef>
        <a:buNone/>
        <a:defRPr sz="2400" b="1" kern="1200">
          <a:solidFill>
            <a:srgbClr val="6200C0"/>
          </a:solidFill>
          <a:latin typeface="+mj-lt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180975" indent="-180975" algn="l" defTabSz="872655" rtl="0" eaLnBrk="1" latinLnBrk="0" hangingPunct="1">
        <a:spcBef>
          <a:spcPts val="400"/>
        </a:spcBef>
        <a:buClr>
          <a:srgbClr val="520D8E"/>
        </a:buClr>
        <a:buSzPct val="13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Inter" panose="020B0502030000000004" pitchFamily="34" charset="0"/>
          <a:cs typeface="Arial" panose="020B0604020202020204" pitchFamily="34" charset="0"/>
          <a:sym typeface="Verdana" panose="020B0604030504040204" pitchFamily="34" charset="0"/>
        </a:defRPr>
      </a:lvl1pPr>
      <a:lvl2pPr marL="357188" indent="-176213" algn="l" defTabSz="872655" rtl="0" eaLnBrk="1" latinLnBrk="0" hangingPunct="1">
        <a:spcBef>
          <a:spcPts val="400"/>
        </a:spcBef>
        <a:buClr>
          <a:srgbClr val="520D8E"/>
        </a:buClr>
        <a:buSzPct val="8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anose="020B0604020202020204" pitchFamily="34" charset="0"/>
          <a:ea typeface="Inter" panose="020B0502030000000004" pitchFamily="34" charset="0"/>
          <a:cs typeface="Arial" panose="020B0604020202020204" pitchFamily="34" charset="0"/>
          <a:sym typeface="Verdana" panose="020B0604030504040204" pitchFamily="34" charset="0"/>
        </a:defRPr>
      </a:lvl2pPr>
      <a:lvl3pPr marL="538163" indent="-180975" algn="l" defTabSz="872655" rtl="0" eaLnBrk="1" latinLnBrk="0" hangingPunct="1">
        <a:spcBef>
          <a:spcPts val="400"/>
        </a:spcBef>
        <a:buClr>
          <a:srgbClr val="520D8E"/>
        </a:buClr>
        <a:buSzPct val="8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anose="020B0604020202020204" pitchFamily="34" charset="0"/>
          <a:ea typeface="Inter" panose="020B0502030000000004" pitchFamily="34" charset="0"/>
          <a:cs typeface="Arial" panose="020B0604020202020204" pitchFamily="34" charset="0"/>
          <a:sym typeface="Verdana" panose="020B0604030504040204" pitchFamily="34" charset="0"/>
        </a:defRPr>
      </a:lvl3pPr>
      <a:lvl4pPr marL="719138" indent="-180975" algn="l" defTabSz="872655" rtl="0" eaLnBrk="1" latinLnBrk="0" hangingPunct="1">
        <a:spcBef>
          <a:spcPts val="400"/>
        </a:spcBef>
        <a:buClr>
          <a:srgbClr val="520D8E"/>
        </a:buClr>
        <a:buSzPct val="13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895350" indent="-176213" algn="l" defTabSz="872655" rtl="0" eaLnBrk="1" latinLnBrk="0" hangingPunct="1">
        <a:spcBef>
          <a:spcPts val="400"/>
        </a:spcBef>
        <a:buClr>
          <a:srgbClr val="520D8E"/>
        </a:buClr>
        <a:buSzPct val="13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2399799" indent="-218163" algn="l" defTabSz="87265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6125" indent="-218163" algn="l" defTabSz="87265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2452" indent="-218163" algn="l" defTabSz="87265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8779" indent="-218163" algn="l" defTabSz="872655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6327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2655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8981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308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635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7962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4289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616" algn="l" defTabSz="8726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5">
          <p15:clr>
            <a:srgbClr val="F26B43"/>
          </p15:clr>
        </p15:guide>
        <p15:guide id="2" orient="horz" pos="845">
          <p15:clr>
            <a:srgbClr val="F26B43"/>
          </p15:clr>
        </p15:guide>
        <p15:guide id="3" orient="horz" pos="527">
          <p15:clr>
            <a:srgbClr val="F26B43"/>
          </p15:clr>
        </p15:guide>
        <p15:guide id="4" orient="horz" pos="4007">
          <p15:clr>
            <a:srgbClr val="F26B43"/>
          </p15:clr>
        </p15:guide>
        <p15:guide id="5" pos="3840">
          <p15:clr>
            <a:srgbClr val="F26B43"/>
          </p15:clr>
        </p15:guide>
        <p15:guide id="6" pos="386">
          <p15:clr>
            <a:srgbClr val="F26B43"/>
          </p15:clr>
        </p15:guide>
        <p15:guide id="7" pos="7298">
          <p15:clr>
            <a:srgbClr val="F26B43"/>
          </p15:clr>
        </p15:guide>
        <p15:guide id="8" pos="3694">
          <p15:clr>
            <a:srgbClr val="F26B43"/>
          </p15:clr>
        </p15:guide>
        <p15:guide id="9" pos="39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jestjs.io/docs/expect" TargetMode="Externa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icrosoft/vscode-recipes/tree/master/debugging-jest-tests" TargetMode="Externa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itrai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- Training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DC88F29-E583-4D4E-866B-ADDB0FCE26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54321" y="4169177"/>
            <a:ext cx="2302695" cy="43227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y </a:t>
            </a:r>
            <a:r>
              <a:rPr lang="en-US" dirty="0"/>
              <a:t>Train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BD760-82E1-44D9-91F8-14B649113F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Unit Test / Jest</a:t>
            </a:r>
          </a:p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4311536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C9A2B8-82D5-490C-BAC4-18C4C99D89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17CCA-0BD7-42B0-A4E2-3A1091CCCA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270973"/>
            <a:ext cx="10953750" cy="5180533"/>
          </a:xfrm>
        </p:spPr>
        <p:txBody>
          <a:bodyPr/>
          <a:lstStyle/>
          <a:p>
            <a:r>
              <a:rPr lang="en-US" dirty="0"/>
              <a:t>Statement</a:t>
            </a:r>
          </a:p>
          <a:p>
            <a:r>
              <a:rPr lang="en-US" dirty="0"/>
              <a:t>Branch</a:t>
            </a:r>
          </a:p>
          <a:p>
            <a:r>
              <a:rPr lang="en-US" dirty="0"/>
              <a:t>Function</a:t>
            </a:r>
          </a:p>
          <a:p>
            <a:r>
              <a:rPr lang="en-US" dirty="0"/>
              <a:t>Lines</a:t>
            </a:r>
            <a:endParaRPr lang="en-ID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C2C73D-7721-40FA-8C3E-590FF3B83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Coverag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849577719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70602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C2169-DE1B-4744-A06E-FF9AD7A502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86102"/>
            <a:ext cx="10953750" cy="5180533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buFontTx/>
              <a:buChar char="-"/>
            </a:pPr>
            <a:r>
              <a:rPr lang="en-US" sz="2200" dirty="0"/>
              <a:t>A type of software testing to ensure the code in the level of unit or smallest component</a:t>
            </a:r>
          </a:p>
          <a:p>
            <a:pPr>
              <a:buFontTx/>
              <a:buChar char="-"/>
            </a:pPr>
            <a:endParaRPr lang="en-US" sz="2200" dirty="0"/>
          </a:p>
          <a:p>
            <a:pPr>
              <a:buFontTx/>
              <a:buChar char="-"/>
            </a:pPr>
            <a:r>
              <a:rPr lang="en-US" sz="2200" dirty="0"/>
              <a:t>Unit Test has isolated characteristic.</a:t>
            </a:r>
          </a:p>
          <a:p>
            <a:pPr>
              <a:buFontTx/>
              <a:buChar char="-"/>
            </a:pPr>
            <a:endParaRPr lang="en-US" sz="2200" dirty="0"/>
          </a:p>
          <a:p>
            <a:pPr>
              <a:buFontTx/>
              <a:buChar char="-"/>
            </a:pPr>
            <a:r>
              <a:rPr lang="en-US" sz="2200" dirty="0"/>
              <a:t>Example :</a:t>
            </a:r>
          </a:p>
          <a:p>
            <a:pPr lvl="1">
              <a:buFontTx/>
              <a:buChar char="-"/>
            </a:pPr>
            <a:r>
              <a:rPr lang="en-US" sz="1800" dirty="0"/>
              <a:t>A brake in motorcycle</a:t>
            </a:r>
          </a:p>
          <a:p>
            <a:pPr lvl="2">
              <a:buFontTx/>
              <a:buChar char="-"/>
            </a:pPr>
            <a:r>
              <a:rPr lang="en-US" sz="1600" dirty="0"/>
              <a:t>Expect the light will be turned on when pressed</a:t>
            </a:r>
          </a:p>
          <a:p>
            <a:pPr lvl="2">
              <a:buFontTx/>
              <a:buChar char="-"/>
            </a:pPr>
            <a:r>
              <a:rPr lang="en-US" sz="1600" dirty="0"/>
              <a:t>Expect stop/slow down the ti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230C18-6FC6-4E78-8031-3E34D5D7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Unit Testing ?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401824444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2C359C2-AE3A-45F3-BFB0-393C6FCA9074}"/>
              </a:ext>
            </a:extLst>
          </p:cNvPr>
          <p:cNvSpPr/>
          <p:nvPr/>
        </p:nvSpPr>
        <p:spPr>
          <a:xfrm>
            <a:off x="1716505" y="1407694"/>
            <a:ext cx="2614863" cy="2021305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  <a:latin typeface="+mj-lt"/>
              </a:rPr>
              <a:t>WHERE</a:t>
            </a:r>
            <a:endParaRPr lang="en-ID" sz="160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181F75F-2EF7-4BEA-9B1C-725B6EE30163}"/>
              </a:ext>
            </a:extLst>
          </p:cNvPr>
          <p:cNvSpPr/>
          <p:nvPr/>
        </p:nvSpPr>
        <p:spPr>
          <a:xfrm>
            <a:off x="6729664" y="1407695"/>
            <a:ext cx="2614863" cy="2021305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  <a:latin typeface="+mj-lt"/>
              </a:rPr>
              <a:t>WHEN</a:t>
            </a:r>
            <a:endParaRPr lang="en-ID" sz="160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1F53EC2-97B2-4997-828C-59D9E660BF30}"/>
              </a:ext>
            </a:extLst>
          </p:cNvPr>
          <p:cNvSpPr/>
          <p:nvPr/>
        </p:nvSpPr>
        <p:spPr>
          <a:xfrm>
            <a:off x="1716505" y="3830052"/>
            <a:ext cx="2614863" cy="2021305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  <a:latin typeface="+mj-lt"/>
              </a:rPr>
              <a:t>HOW</a:t>
            </a:r>
            <a:endParaRPr lang="en-ID" sz="160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8208C0EC-6E6C-4298-A5A1-1E5F37962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7952"/>
            <a:ext cx="10718074" cy="421415"/>
          </a:xfrm>
        </p:spPr>
        <p:txBody>
          <a:bodyPr lIns="91440" tIns="45720" rIns="91440" bIns="45720" anchor="t"/>
          <a:lstStyle/>
          <a:p>
            <a:r>
              <a:rPr lang="en-ID" dirty="0">
                <a:latin typeface="Arial"/>
                <a:ea typeface="Inter"/>
                <a:cs typeface="Arial"/>
              </a:rPr>
              <a:t>UNIT TEST</a:t>
            </a:r>
            <a:endParaRPr lang="en-ID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D23E3CA-3EA8-4897-AE2A-343864D5E074}"/>
              </a:ext>
            </a:extLst>
          </p:cNvPr>
          <p:cNvSpPr/>
          <p:nvPr/>
        </p:nvSpPr>
        <p:spPr>
          <a:xfrm>
            <a:off x="6729664" y="3830051"/>
            <a:ext cx="2614863" cy="2021305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  <a:latin typeface="+mj-lt"/>
              </a:rPr>
              <a:t>WHY</a:t>
            </a:r>
            <a:endParaRPr lang="en-ID" sz="1600" dirty="0">
              <a:solidFill>
                <a:sysClr val="windowText" lastClr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03769381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C2169-DE1B-4744-A06E-FF9AD7A502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270973"/>
            <a:ext cx="10953750" cy="5180533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buFontTx/>
              <a:buChar char="-"/>
            </a:pPr>
            <a:r>
              <a:rPr lang="en-ID" sz="2200" dirty="0"/>
              <a:t>Junit</a:t>
            </a:r>
          </a:p>
          <a:p>
            <a:pPr>
              <a:buFontTx/>
              <a:buChar char="-"/>
            </a:pPr>
            <a:r>
              <a:rPr lang="en-ID" sz="2200" dirty="0" err="1"/>
              <a:t>RSpec</a:t>
            </a:r>
            <a:endParaRPr lang="en-ID" sz="2200" dirty="0"/>
          </a:p>
          <a:p>
            <a:pPr>
              <a:buFontTx/>
              <a:buChar char="-"/>
            </a:pPr>
            <a:r>
              <a:rPr lang="en-ID" sz="2200" b="1" dirty="0"/>
              <a:t>Jest</a:t>
            </a:r>
          </a:p>
          <a:p>
            <a:pPr>
              <a:buFontTx/>
              <a:buChar char="-"/>
            </a:pPr>
            <a:r>
              <a:rPr lang="en-ID" sz="2200" dirty="0"/>
              <a:t>Mocha</a:t>
            </a:r>
          </a:p>
          <a:p>
            <a:pPr marL="0" indent="0" algn="ctr">
              <a:buNone/>
            </a:pPr>
            <a:endParaRPr lang="en-ID" sz="2800" i="1" dirty="0">
              <a:solidFill>
                <a:srgbClr val="6100C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230C18-6FC6-4E78-8031-3E34D5D7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ID" dirty="0">
                <a:latin typeface="Arial"/>
                <a:ea typeface="Inter"/>
                <a:cs typeface="Arial"/>
              </a:rPr>
              <a:t>TOOLS</a:t>
            </a:r>
          </a:p>
        </p:txBody>
      </p:sp>
    </p:spTree>
    <p:extLst>
      <p:ext uri="{BB962C8B-B14F-4D97-AF65-F5344CB8AC3E}">
        <p14:creationId xmlns:p14="http://schemas.microsoft.com/office/powerpoint/2010/main" val="142693494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C2169-DE1B-4744-A06E-FF9AD7A502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86103"/>
            <a:ext cx="10953750" cy="478609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96875" lvl="0" indent="0" algn="just"/>
            <a:r>
              <a:rPr lang="en-ID" sz="2000" dirty="0"/>
              <a:t> </a:t>
            </a:r>
            <a:r>
              <a:rPr lang="en-US" sz="2000" dirty="0" err="1"/>
              <a:t>Javascript</a:t>
            </a:r>
            <a:r>
              <a:rPr lang="en-US" sz="2000" dirty="0"/>
              <a:t> Testing Framework</a:t>
            </a:r>
          </a:p>
          <a:p>
            <a:pPr marL="396875" lvl="0" indent="0" algn="just"/>
            <a:r>
              <a:rPr lang="en-US" sz="2000" dirty="0"/>
              <a:t> Consist of </a:t>
            </a:r>
          </a:p>
          <a:p>
            <a:pPr marL="858838" lvl="1" indent="-285750" algn="just">
              <a:buFont typeface="Wingdings" panose="05000000000000000000" pitchFamily="2" charset="2"/>
              <a:buChar char="Ø"/>
            </a:pPr>
            <a:r>
              <a:rPr lang="en-US" dirty="0"/>
              <a:t>Description of test</a:t>
            </a:r>
          </a:p>
          <a:p>
            <a:pPr marL="858838" lvl="1" indent="-285750" algn="just">
              <a:buFont typeface="Wingdings" panose="05000000000000000000" pitchFamily="2" charset="2"/>
              <a:buChar char="Ø"/>
            </a:pPr>
            <a:r>
              <a:rPr lang="en-US" dirty="0"/>
              <a:t>Title of test</a:t>
            </a:r>
          </a:p>
          <a:p>
            <a:pPr marL="858838" lvl="1" indent="-285750" algn="just">
              <a:buFont typeface="Wingdings" panose="05000000000000000000" pitchFamily="2" charset="2"/>
              <a:buChar char="Ø"/>
            </a:pPr>
            <a:r>
              <a:rPr lang="en-US" dirty="0"/>
              <a:t>Actual Te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230C18-6FC6-4E78-8031-3E34D5D7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ID" dirty="0">
                <a:latin typeface="Arial"/>
                <a:ea typeface="Inter"/>
                <a:cs typeface="Arial"/>
              </a:rPr>
              <a:t>Jest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64978381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  <a:alpha val="8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C2169-DE1B-4744-A06E-FF9AD7A502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86103"/>
            <a:ext cx="10953750" cy="478609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ID" sz="20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 </a:t>
            </a:r>
            <a:r>
              <a:rPr lang="en-ID" sz="20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oUpperCase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} </a:t>
            </a:r>
            <a:r>
              <a:rPr lang="en-ID" sz="20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ID" sz="2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../app/Utils'</a:t>
            </a:r>
            <a:endParaRPr lang="en-ID" sz="20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ID" sz="20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describe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ID" sz="2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Utils test'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() </a:t>
            </a:r>
            <a:r>
              <a:rPr lang="en-ID" sz="20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</a:t>
            </a:r>
          </a:p>
          <a:p>
            <a:pPr marL="0" indent="0">
              <a:buNone/>
            </a:pP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</a:t>
            </a:r>
            <a:r>
              <a:rPr lang="en-ID" sz="20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t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ID" sz="2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should transform string to uppercase'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() </a:t>
            </a:r>
            <a:r>
              <a:rPr lang="en-ID" sz="20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{</a:t>
            </a:r>
          </a:p>
          <a:p>
            <a:pPr marL="0" indent="0">
              <a:buNone/>
            </a:pP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en-ID" sz="20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ID" sz="20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word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ID" sz="2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UpperCase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ID" sz="2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ID" sz="2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bc</a:t>
            </a:r>
            <a:r>
              <a:rPr lang="en-ID" sz="2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</a:t>
            </a:r>
            <a:r>
              <a:rPr lang="en-ID" sz="20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expect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ID" sz="2000" b="0" dirty="0">
                <a:solidFill>
                  <a:srgbClr val="4FC1FF"/>
                </a:solidFill>
                <a:effectLst/>
                <a:latin typeface="Consolas" panose="020B0609020204030204" pitchFamily="49" charset="0"/>
              </a:rPr>
              <a:t>word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ID" sz="20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Be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ID" sz="20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ABC'</a:t>
            </a: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});</a:t>
            </a:r>
          </a:p>
          <a:p>
            <a:pPr marL="0" indent="0">
              <a:buNone/>
            </a:pPr>
            <a:r>
              <a:rPr lang="en-ID" sz="20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});</a:t>
            </a:r>
          </a:p>
          <a:p>
            <a:pPr marL="0" indent="0" algn="ctr">
              <a:buNone/>
            </a:pPr>
            <a:endParaRPr lang="en-ID" sz="2800" i="1" dirty="0">
              <a:solidFill>
                <a:srgbClr val="6100C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230C18-6FC6-4E78-8031-3E34D5D7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ID" dirty="0">
                <a:solidFill>
                  <a:schemeClr val="bg1"/>
                </a:solidFill>
                <a:latin typeface="Arial"/>
                <a:ea typeface="Inter"/>
                <a:cs typeface="Arial"/>
              </a:rPr>
              <a:t>Example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91BB26F-DA95-41B4-8092-712E6356FF70}"/>
              </a:ext>
            </a:extLst>
          </p:cNvPr>
          <p:cNvCxnSpPr/>
          <p:nvPr/>
        </p:nvCxnSpPr>
        <p:spPr>
          <a:xfrm flipH="1">
            <a:off x="5131495" y="2267210"/>
            <a:ext cx="299372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B3EA324-3CE1-4042-94DE-001EE9E3301A}"/>
              </a:ext>
            </a:extLst>
          </p:cNvPr>
          <p:cNvSpPr txBox="1"/>
          <p:nvPr/>
        </p:nvSpPr>
        <p:spPr>
          <a:xfrm>
            <a:off x="8223337" y="2073057"/>
            <a:ext cx="2041742" cy="388307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rgbClr val="FF0000"/>
                </a:solidFill>
              </a:rPr>
              <a:t>Description of test</a:t>
            </a:r>
            <a:endParaRPr lang="en-ID" sz="1800" dirty="0">
              <a:solidFill>
                <a:srgbClr val="FF0000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E8A0F9E-7ED4-4350-A03E-35402B755BB2}"/>
              </a:ext>
            </a:extLst>
          </p:cNvPr>
          <p:cNvCxnSpPr>
            <a:cxnSpLocks/>
          </p:cNvCxnSpPr>
          <p:nvPr/>
        </p:nvCxnSpPr>
        <p:spPr>
          <a:xfrm flipH="1">
            <a:off x="8033359" y="2632553"/>
            <a:ext cx="19812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A68483A-5D8B-404A-98FF-55CE3BFFCF22}"/>
              </a:ext>
            </a:extLst>
          </p:cNvPr>
          <p:cNvSpPr txBox="1"/>
          <p:nvPr/>
        </p:nvSpPr>
        <p:spPr>
          <a:xfrm>
            <a:off x="10014559" y="2432136"/>
            <a:ext cx="1313115" cy="388307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rgbClr val="FF0000"/>
                </a:solidFill>
              </a:rPr>
              <a:t>Title of test</a:t>
            </a:r>
            <a:endParaRPr lang="en-ID" sz="1800" dirty="0">
              <a:solidFill>
                <a:srgbClr val="FF0000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E39BC9F-BD5F-4170-8E9E-5E583DBBD83E}"/>
              </a:ext>
            </a:extLst>
          </p:cNvPr>
          <p:cNvCxnSpPr>
            <a:cxnSpLocks/>
          </p:cNvCxnSpPr>
          <p:nvPr/>
        </p:nvCxnSpPr>
        <p:spPr>
          <a:xfrm flipH="1">
            <a:off x="4889326" y="3321484"/>
            <a:ext cx="19812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FA294121-5828-4840-ADE7-2CE20B549F72}"/>
              </a:ext>
            </a:extLst>
          </p:cNvPr>
          <p:cNvSpPr txBox="1"/>
          <p:nvPr/>
        </p:nvSpPr>
        <p:spPr>
          <a:xfrm>
            <a:off x="6870526" y="3125354"/>
            <a:ext cx="1162833" cy="388307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rgbClr val="FF0000"/>
                </a:solidFill>
              </a:rPr>
              <a:t>Actual test</a:t>
            </a:r>
            <a:endParaRPr lang="en-ID" sz="1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994611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C2169-DE1B-4744-A06E-FF9AD7A502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234441"/>
            <a:ext cx="10953750" cy="504444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err="1">
                <a:latin typeface="Arial"/>
                <a:ea typeface="Inter"/>
                <a:cs typeface="Arial"/>
              </a:rPr>
              <a:t>toBe</a:t>
            </a:r>
            <a:endParaRPr lang="en-US" dirty="0">
              <a:latin typeface="Arial"/>
              <a:ea typeface="Inter"/>
              <a:cs typeface="Arial"/>
            </a:endParaRPr>
          </a:p>
          <a:p>
            <a:r>
              <a:rPr lang="en-US" dirty="0" err="1">
                <a:latin typeface="Arial"/>
                <a:ea typeface="Inter"/>
                <a:cs typeface="Arial"/>
              </a:rPr>
              <a:t>toEqual</a:t>
            </a:r>
            <a:endParaRPr lang="en-US" dirty="0">
              <a:latin typeface="Arial"/>
              <a:ea typeface="Inter"/>
              <a:cs typeface="Arial"/>
            </a:endParaRPr>
          </a:p>
          <a:p>
            <a:r>
              <a:rPr lang="en-US" dirty="0" err="1">
                <a:latin typeface="Arial"/>
                <a:ea typeface="Inter"/>
                <a:cs typeface="Arial"/>
              </a:rPr>
              <a:t>toBeNull</a:t>
            </a:r>
            <a:endParaRPr lang="en-US" dirty="0">
              <a:latin typeface="Arial"/>
              <a:ea typeface="Inter"/>
              <a:cs typeface="Arial"/>
            </a:endParaRPr>
          </a:p>
          <a:p>
            <a:r>
              <a:rPr lang="en-US" dirty="0" err="1">
                <a:latin typeface="Arial"/>
                <a:ea typeface="Inter"/>
                <a:cs typeface="Arial"/>
              </a:rPr>
              <a:t>toContain</a:t>
            </a:r>
            <a:endParaRPr lang="en-US" dirty="0">
              <a:latin typeface="Arial"/>
              <a:ea typeface="Inter"/>
              <a:cs typeface="Arial"/>
            </a:endParaRPr>
          </a:p>
          <a:p>
            <a:r>
              <a:rPr lang="en-US" dirty="0" err="1">
                <a:latin typeface="Arial"/>
                <a:ea typeface="Inter"/>
                <a:cs typeface="Arial"/>
              </a:rPr>
              <a:t>toThrow</a:t>
            </a:r>
            <a:endParaRPr lang="en-US" dirty="0">
              <a:latin typeface="Arial"/>
              <a:ea typeface="Inter"/>
              <a:cs typeface="Arial"/>
            </a:endParaRPr>
          </a:p>
          <a:p>
            <a:r>
              <a:rPr lang="en-US" dirty="0" err="1">
                <a:latin typeface="Arial"/>
                <a:ea typeface="Inter"/>
                <a:cs typeface="Arial"/>
              </a:rPr>
              <a:t>toBeTruthy</a:t>
            </a:r>
            <a:endParaRPr lang="en-US" dirty="0">
              <a:latin typeface="Arial"/>
              <a:ea typeface="Inter"/>
              <a:cs typeface="Arial"/>
            </a:endParaRPr>
          </a:p>
          <a:p>
            <a:r>
              <a:rPr lang="en-US" dirty="0" err="1">
                <a:latin typeface="Arial"/>
                <a:ea typeface="Inter"/>
                <a:cs typeface="Arial"/>
              </a:rPr>
              <a:t>toBeFalsy</a:t>
            </a:r>
            <a:endParaRPr lang="en-US" dirty="0">
              <a:latin typeface="Arial"/>
              <a:ea typeface="Inter"/>
              <a:cs typeface="Arial"/>
            </a:endParaRPr>
          </a:p>
          <a:p>
            <a:r>
              <a:rPr lang="en-US" dirty="0">
                <a:latin typeface="Arial"/>
                <a:ea typeface="Inter"/>
                <a:cs typeface="Arial"/>
              </a:rPr>
              <a:t>And so on</a:t>
            </a:r>
            <a:r>
              <a:rPr lang="en-US" dirty="0">
                <a:solidFill>
                  <a:srgbClr val="0070C0"/>
                </a:solidFill>
                <a:latin typeface="Arial"/>
                <a:ea typeface="Inter"/>
                <a:cs typeface="Arial"/>
              </a:rPr>
              <a:t> </a:t>
            </a:r>
            <a:r>
              <a:rPr lang="en-US" dirty="0">
                <a:solidFill>
                  <a:srgbClr val="0070C0"/>
                </a:solidFill>
                <a:latin typeface="Arial"/>
                <a:ea typeface="Inter"/>
                <a:cs typeface="Arial"/>
                <a:hlinkClick r:id="rId2"/>
              </a:rPr>
              <a:t>https://jestjs.io/docs</a:t>
            </a:r>
            <a:r>
              <a:rPr lang="en-US">
                <a:solidFill>
                  <a:srgbClr val="0070C0"/>
                </a:solidFill>
                <a:latin typeface="Arial"/>
                <a:ea typeface="Inter"/>
                <a:cs typeface="Arial"/>
                <a:hlinkClick r:id="rId2"/>
              </a:rPr>
              <a:t>/expect</a:t>
            </a:r>
            <a:endParaRPr lang="en-US">
              <a:solidFill>
                <a:srgbClr val="0070C0"/>
              </a:solidFill>
              <a:latin typeface="Arial"/>
              <a:ea typeface="Inter"/>
              <a:cs typeface="Arial"/>
            </a:endParaRPr>
          </a:p>
          <a:p>
            <a:pPr marL="0" indent="0">
              <a:buNone/>
            </a:pPr>
            <a:endParaRPr lang="en-US" dirty="0">
              <a:solidFill>
                <a:srgbClr val="0070C0"/>
              </a:solidFill>
              <a:latin typeface="Arial"/>
              <a:ea typeface="Inter"/>
              <a:cs typeface="Arial"/>
            </a:endParaRPr>
          </a:p>
          <a:p>
            <a:endParaRPr lang="en-US" dirty="0"/>
          </a:p>
          <a:p>
            <a:pPr marL="0" indent="0" algn="ctr">
              <a:buNone/>
            </a:pPr>
            <a:endParaRPr lang="en-ID" sz="2800" i="1" dirty="0">
              <a:solidFill>
                <a:srgbClr val="6100C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230C18-6FC6-4E78-8031-3E34D5D7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ID" dirty="0">
                <a:latin typeface="Arial"/>
                <a:ea typeface="Inter"/>
                <a:cs typeface="Arial"/>
              </a:rPr>
              <a:t>Matcher in Jest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225580356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C2169-DE1B-4744-A06E-FF9AD7A502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234441"/>
            <a:ext cx="10953750" cy="504444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ID" dirty="0" err="1"/>
              <a:t>AfterEach</a:t>
            </a:r>
            <a:endParaRPr lang="en-ID" dirty="0"/>
          </a:p>
          <a:p>
            <a:r>
              <a:rPr lang="en-ID" dirty="0" err="1"/>
              <a:t>BeforeEach</a:t>
            </a:r>
            <a:endParaRPr lang="en-ID" dirty="0"/>
          </a:p>
          <a:p>
            <a:r>
              <a:rPr lang="en-ID" dirty="0" err="1"/>
              <a:t>AfterAll</a:t>
            </a:r>
            <a:endParaRPr lang="en-ID" dirty="0"/>
          </a:p>
          <a:p>
            <a:r>
              <a:rPr lang="en-ID" dirty="0" err="1"/>
              <a:t>BeforeAll</a:t>
            </a:r>
            <a:endParaRPr lang="en-ID" dirty="0"/>
          </a:p>
          <a:p>
            <a:pPr marL="0" indent="0">
              <a:buNone/>
            </a:pPr>
            <a:r>
              <a:rPr lang="en-ID" dirty="0"/>
              <a:t>.</a:t>
            </a:r>
            <a:endParaRPr lang="en-US" dirty="0"/>
          </a:p>
          <a:p>
            <a:pPr marL="0" indent="0" algn="ctr">
              <a:buNone/>
            </a:pPr>
            <a:endParaRPr lang="en-ID" sz="2800" i="1" dirty="0">
              <a:solidFill>
                <a:srgbClr val="6100C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230C18-6FC6-4E78-8031-3E34D5D7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ID" dirty="0">
                <a:latin typeface="Arial"/>
                <a:ea typeface="Inter"/>
                <a:cs typeface="Arial"/>
              </a:rPr>
              <a:t>Jest Hooks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72863036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4B28BF-BC35-4C80-AD90-E65223833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C3981-34AD-43FE-8C90-6C64CEB1840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C2169-DE1B-4744-A06E-FF9AD7A502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86102"/>
            <a:ext cx="10953750" cy="518053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200" dirty="0" err="1"/>
              <a:t>Vscode</a:t>
            </a:r>
            <a:r>
              <a:rPr lang="en-US" sz="2200" dirty="0"/>
              <a:t> :</a:t>
            </a:r>
          </a:p>
          <a:p>
            <a:pPr marL="0" indent="0">
              <a:buNone/>
            </a:pPr>
            <a:r>
              <a:rPr lang="en-US" sz="2200" dirty="0"/>
              <a:t>	</a:t>
            </a:r>
            <a:r>
              <a:rPr lang="en-US" sz="2200" dirty="0">
                <a:hlinkClick r:id="rId2"/>
              </a:rPr>
              <a:t>https://github.com/microsoft/vscode-recipes/tree/master/debugging-jest-tests</a:t>
            </a:r>
            <a:endParaRPr lang="en-US" sz="2200" dirty="0"/>
          </a:p>
          <a:p>
            <a:pPr marL="0" indent="0">
              <a:buNone/>
            </a:pPr>
            <a:endParaRPr lang="en-US" sz="22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230C18-6FC6-4E78-8031-3E34D5D7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ID" dirty="0">
                <a:latin typeface="Arial"/>
                <a:ea typeface="Inter"/>
                <a:cs typeface="Arial"/>
              </a:rPr>
              <a:t>How to debug ?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827694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lient Master">
  <a:themeElements>
    <a:clrScheme name="Custom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007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</a:spPr>
      <a:bodyPr wrap="square" rtlCol="0" anchor="ctr">
        <a:noAutofit/>
      </a:bodyPr>
      <a:lstStyle>
        <a:defPPr algn="ctr">
          <a:defRPr sz="1600" dirty="0">
            <a:solidFill>
              <a:schemeClr val="bg1"/>
            </a:solidFill>
            <a:latin typeface="+mj-lt"/>
          </a:defRPr>
        </a:defPPr>
      </a:lstStyle>
    </a:spDef>
    <a:txDef>
      <a:spPr/>
      <a:bodyPr>
        <a:noAutofit/>
      </a:bodyPr>
      <a:lstStyle>
        <a:defPPr marL="0" indent="0">
          <a:buNone/>
          <a:defRPr sz="18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trais Work Template 2020" id="{F7BB32EF-3220-F747-86B2-6724B6FA7278}" vid="{B43180D3-253B-634C-8A31-A297C3E2587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201DF82679444A85543F5ED9F8FF98" ma:contentTypeVersion="4" ma:contentTypeDescription="Create a new document." ma:contentTypeScope="" ma:versionID="a30c39f8fe77a8165b153d461a8e4958">
  <xsd:schema xmlns:xsd="http://www.w3.org/2001/XMLSchema" xmlns:xs="http://www.w3.org/2001/XMLSchema" xmlns:p="http://schemas.microsoft.com/office/2006/metadata/properties" xmlns:ns2="ceada231-0a11-4df0-90e5-4a5937e7b54b" xmlns:ns3="79f44237-e549-4b13-8c2e-6517f7d56c0b" targetNamespace="http://schemas.microsoft.com/office/2006/metadata/properties" ma:root="true" ma:fieldsID="1c5f799f611128dbfef2fe20af8c7daf" ns2:_="" ns3:_="">
    <xsd:import namespace="ceada231-0a11-4df0-90e5-4a5937e7b54b"/>
    <xsd:import namespace="79f44237-e549-4b13-8c2e-6517f7d56c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ada231-0a11-4df0-90e5-4a5937e7b5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f44237-e549-4b13-8c2e-6517f7d56c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5621760-E9F4-4D6D-A7A9-F4472B76D6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ada231-0a11-4df0-90e5-4a5937e7b54b"/>
    <ds:schemaRef ds:uri="79f44237-e549-4b13-8c2e-6517f7d56c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B753E5B-A560-4507-9234-7D7018766AA4}">
  <ds:schemaRefs>
    <ds:schemaRef ds:uri="79f44237-e549-4b13-8c2e-6517f7d56c0b"/>
    <ds:schemaRef ds:uri="http://purl.org/dc/terms/"/>
    <ds:schemaRef ds:uri="ceada231-0a11-4df0-90e5-4a5937e7b54b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FAB8B0E-DF1B-4564-8690-EBFF036298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41</TotalTime>
  <Words>220</Words>
  <Application>Microsoft Office PowerPoint</Application>
  <PresentationFormat>Widescreen</PresentationFormat>
  <Paragraphs>7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Inter Medium</vt:lpstr>
      <vt:lpstr>Times New Roman</vt:lpstr>
      <vt:lpstr>Consolas</vt:lpstr>
      <vt:lpstr>Courier New</vt:lpstr>
      <vt:lpstr>Calibri</vt:lpstr>
      <vt:lpstr>Inter</vt:lpstr>
      <vt:lpstr>Verdana</vt:lpstr>
      <vt:lpstr>Arial</vt:lpstr>
      <vt:lpstr>Wingdings</vt:lpstr>
      <vt:lpstr>2_Client Master</vt:lpstr>
      <vt:lpstr>think-cell Slide</vt:lpstr>
      <vt:lpstr>Mitrais - Training</vt:lpstr>
      <vt:lpstr>What is Unit Testing ?</vt:lpstr>
      <vt:lpstr>UNIT TEST</vt:lpstr>
      <vt:lpstr>TOOLS</vt:lpstr>
      <vt:lpstr>Jest</vt:lpstr>
      <vt:lpstr>Example</vt:lpstr>
      <vt:lpstr>Matcher in Jest</vt:lpstr>
      <vt:lpstr>Jest Hooks</vt:lpstr>
      <vt:lpstr>How to debug ?</vt:lpstr>
      <vt:lpstr>Code Coverag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trais</dc:title>
  <dc:creator>David Magson</dc:creator>
  <cp:lastModifiedBy>Candhie Khairul Ikhwan</cp:lastModifiedBy>
  <cp:revision>153</cp:revision>
  <dcterms:modified xsi:type="dcterms:W3CDTF">2021-06-22T16:5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201DF82679444A85543F5ED9F8FF98</vt:lpwstr>
  </property>
  <property fmtid="{D5CDD505-2E9C-101B-9397-08002B2CF9AE}" pid="3" name="AuthorIds_UIVersion_3584">
    <vt:lpwstr>361</vt:lpwstr>
  </property>
  <property fmtid="{D5CDD505-2E9C-101B-9397-08002B2CF9AE}" pid="4" name="Order">
    <vt:r8>1487000</vt:r8>
  </property>
  <property fmtid="{D5CDD505-2E9C-101B-9397-08002B2CF9AE}" pid="5" name="ComplianceAssetId">
    <vt:lpwstr/>
  </property>
  <property fmtid="{D5CDD505-2E9C-101B-9397-08002B2CF9AE}" pid="6" name="_SharedFileIndex">
    <vt:lpwstr/>
  </property>
  <property fmtid="{D5CDD505-2E9C-101B-9397-08002B2CF9AE}" pid="7" name="_SourceUrl">
    <vt:lpwstr/>
  </property>
</Properties>
</file>